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17" r:id="rId5"/>
    <p:sldMasterId id="2147483730" r:id="rId6"/>
    <p:sldMasterId id="2147483740" r:id="rId7"/>
  </p:sldMasterIdLst>
  <p:notesMasterIdLst>
    <p:notesMasterId r:id="rId59"/>
  </p:notesMasterIdLst>
  <p:sldIdLst>
    <p:sldId id="1624" r:id="rId8"/>
    <p:sldId id="1783" r:id="rId9"/>
    <p:sldId id="1784" r:id="rId10"/>
    <p:sldId id="1779" r:id="rId11"/>
    <p:sldId id="1780" r:id="rId12"/>
    <p:sldId id="1781" r:id="rId13"/>
    <p:sldId id="1782" r:id="rId14"/>
    <p:sldId id="1670" r:id="rId15"/>
    <p:sldId id="1771" r:id="rId16"/>
    <p:sldId id="1772" r:id="rId17"/>
    <p:sldId id="1646" r:id="rId18"/>
    <p:sldId id="1634" r:id="rId19"/>
    <p:sldId id="1635" r:id="rId20"/>
    <p:sldId id="1636" r:id="rId21"/>
    <p:sldId id="1645" r:id="rId22"/>
    <p:sldId id="1707" r:id="rId23"/>
    <p:sldId id="1709" r:id="rId24"/>
    <p:sldId id="1725" r:id="rId25"/>
    <p:sldId id="1787" r:id="rId26"/>
    <p:sldId id="1785" r:id="rId27"/>
    <p:sldId id="1786" r:id="rId28"/>
    <p:sldId id="1702" r:id="rId29"/>
    <p:sldId id="1703" r:id="rId30"/>
    <p:sldId id="1704" r:id="rId31"/>
    <p:sldId id="1788" r:id="rId32"/>
    <p:sldId id="1789" r:id="rId33"/>
    <p:sldId id="1790" r:id="rId34"/>
    <p:sldId id="1791" r:id="rId35"/>
    <p:sldId id="1792" r:id="rId36"/>
    <p:sldId id="1729" r:id="rId37"/>
    <p:sldId id="1775" r:id="rId38"/>
    <p:sldId id="1732" r:id="rId39"/>
    <p:sldId id="1793" r:id="rId40"/>
    <p:sldId id="1794" r:id="rId41"/>
    <p:sldId id="1795" r:id="rId42"/>
    <p:sldId id="1752" r:id="rId43"/>
    <p:sldId id="1753" r:id="rId44"/>
    <p:sldId id="1754" r:id="rId45"/>
    <p:sldId id="1746" r:id="rId46"/>
    <p:sldId id="1747" r:id="rId47"/>
    <p:sldId id="1755" r:id="rId48"/>
    <p:sldId id="1756" r:id="rId49"/>
    <p:sldId id="1757" r:id="rId50"/>
    <p:sldId id="1758" r:id="rId51"/>
    <p:sldId id="1759" r:id="rId52"/>
    <p:sldId id="1760" r:id="rId53"/>
    <p:sldId id="1761" r:id="rId54"/>
    <p:sldId id="1762" r:id="rId55"/>
    <p:sldId id="1748" r:id="rId56"/>
    <p:sldId id="1749" r:id="rId57"/>
    <p:sldId id="1750" r:id="rId58"/>
  </p:sldIdLst>
  <p:sldSz cx="12192000" cy="6858000"/>
  <p:notesSz cx="6858000" cy="9144000"/>
  <p:custDataLst>
    <p:tags r:id="rId6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3333CC"/>
    <a:srgbClr val="00FF00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90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312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61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tableStyles" Target="tableStyle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17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B$93:$B$217</c:f>
              <c:numCache>
                <c:formatCode>0</c:formatCode>
                <c:ptCount val="125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1</c:v>
                </c:pt>
                <c:pt idx="22">
                  <c:v>14138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1</c:v>
                </c:pt>
                <c:pt idx="27">
                  <c:v>10936</c:v>
                </c:pt>
                <c:pt idx="28">
                  <c:v>16475</c:v>
                </c:pt>
                <c:pt idx="29">
                  <c:v>17059</c:v>
                </c:pt>
                <c:pt idx="30">
                  <c:v>13307</c:v>
                </c:pt>
                <c:pt idx="31">
                  <c:v>3446</c:v>
                </c:pt>
                <c:pt idx="32">
                  <c:v>4985</c:v>
                </c:pt>
                <c:pt idx="33">
                  <c:v>6267</c:v>
                </c:pt>
                <c:pt idx="34">
                  <c:v>12955</c:v>
                </c:pt>
                <c:pt idx="35">
                  <c:v>17399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7</c:v>
                </c:pt>
                <c:pt idx="40">
                  <c:v>4312</c:v>
                </c:pt>
                <c:pt idx="41">
                  <c:v>9384</c:v>
                </c:pt>
                <c:pt idx="42">
                  <c:v>10810</c:v>
                </c:pt>
                <c:pt idx="43">
                  <c:v>10918</c:v>
                </c:pt>
                <c:pt idx="44">
                  <c:v>8087</c:v>
                </c:pt>
                <c:pt idx="45">
                  <c:v>9300</c:v>
                </c:pt>
                <c:pt idx="46">
                  <c:v>5241</c:v>
                </c:pt>
                <c:pt idx="47">
                  <c:v>2641</c:v>
                </c:pt>
                <c:pt idx="48">
                  <c:v>7667</c:v>
                </c:pt>
                <c:pt idx="49">
                  <c:v>9609</c:v>
                </c:pt>
                <c:pt idx="50">
                  <c:v>8215</c:v>
                </c:pt>
                <c:pt idx="51">
                  <c:v>7532</c:v>
                </c:pt>
                <c:pt idx="52">
                  <c:v>8467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4</c:v>
                </c:pt>
                <c:pt idx="57">
                  <c:v>8503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6</c:v>
                </c:pt>
                <c:pt idx="65">
                  <c:v>8106</c:v>
                </c:pt>
                <c:pt idx="66">
                  <c:v>8621</c:v>
                </c:pt>
                <c:pt idx="67">
                  <c:v>4820</c:v>
                </c:pt>
                <c:pt idx="68">
                  <c:v>2451</c:v>
                </c:pt>
                <c:pt idx="69">
                  <c:v>7779</c:v>
                </c:pt>
                <c:pt idx="70">
                  <c:v>10283</c:v>
                </c:pt>
                <c:pt idx="71">
                  <c:v>9538</c:v>
                </c:pt>
                <c:pt idx="72">
                  <c:v>9017</c:v>
                </c:pt>
                <c:pt idx="73">
                  <c:v>8827</c:v>
                </c:pt>
                <c:pt idx="74">
                  <c:v>5141</c:v>
                </c:pt>
                <c:pt idx="75">
                  <c:v>2881</c:v>
                </c:pt>
                <c:pt idx="76">
                  <c:v>8905</c:v>
                </c:pt>
                <c:pt idx="77">
                  <c:v>12609</c:v>
                </c:pt>
                <c:pt idx="78">
                  <c:v>10938</c:v>
                </c:pt>
                <c:pt idx="79">
                  <c:v>11702</c:v>
                </c:pt>
                <c:pt idx="80">
                  <c:v>11287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1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3</c:v>
                </c:pt>
                <c:pt idx="89">
                  <c:v>4587</c:v>
                </c:pt>
                <c:pt idx="90">
                  <c:v>12322</c:v>
                </c:pt>
                <c:pt idx="91">
                  <c:v>16776</c:v>
                </c:pt>
                <c:pt idx="92">
                  <c:v>15239</c:v>
                </c:pt>
                <c:pt idx="93">
                  <c:v>14648</c:v>
                </c:pt>
                <c:pt idx="94">
                  <c:v>13169</c:v>
                </c:pt>
                <c:pt idx="95">
                  <c:v>9130</c:v>
                </c:pt>
                <c:pt idx="96">
                  <c:v>3982</c:v>
                </c:pt>
                <c:pt idx="97">
                  <c:v>10653</c:v>
                </c:pt>
                <c:pt idx="98">
                  <c:v>15356</c:v>
                </c:pt>
                <c:pt idx="99">
                  <c:v>14535</c:v>
                </c:pt>
                <c:pt idx="100">
                  <c:v>11241</c:v>
                </c:pt>
                <c:pt idx="101">
                  <c:v>14956</c:v>
                </c:pt>
                <c:pt idx="102">
                  <c:v>6955</c:v>
                </c:pt>
                <c:pt idx="103">
                  <c:v>3331</c:v>
                </c:pt>
                <c:pt idx="104">
                  <c:v>10625</c:v>
                </c:pt>
                <c:pt idx="105">
                  <c:v>14026</c:v>
                </c:pt>
                <c:pt idx="106">
                  <c:v>12025</c:v>
                </c:pt>
                <c:pt idx="107">
                  <c:v>10656</c:v>
                </c:pt>
                <c:pt idx="108">
                  <c:v>9708</c:v>
                </c:pt>
                <c:pt idx="109">
                  <c:v>5466</c:v>
                </c:pt>
                <c:pt idx="110">
                  <c:v>2388</c:v>
                </c:pt>
                <c:pt idx="111">
                  <c:v>8242</c:v>
                </c:pt>
                <c:pt idx="112">
                  <c:v>10968</c:v>
                </c:pt>
                <c:pt idx="113">
                  <c:v>8845</c:v>
                </c:pt>
                <c:pt idx="114">
                  <c:v>7923</c:v>
                </c:pt>
                <c:pt idx="115">
                  <c:v>7708</c:v>
                </c:pt>
                <c:pt idx="116">
                  <c:v>3968</c:v>
                </c:pt>
                <c:pt idx="117">
                  <c:v>1742</c:v>
                </c:pt>
                <c:pt idx="118">
                  <c:v>6933</c:v>
                </c:pt>
                <c:pt idx="119">
                  <c:v>8628</c:v>
                </c:pt>
                <c:pt idx="120">
                  <c:v>7253</c:v>
                </c:pt>
                <c:pt idx="121">
                  <c:v>6245</c:v>
                </c:pt>
                <c:pt idx="122">
                  <c:v>3821</c:v>
                </c:pt>
                <c:pt idx="123">
                  <c:v>2149</c:v>
                </c:pt>
                <c:pt idx="124" formatCode="General">
                  <c:v>19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3D-4A48-BE0F-1E30C99130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17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C$93:$C$217</c:f>
              <c:numCache>
                <c:formatCode>General</c:formatCode>
                <c:ptCount val="12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73D-4A48-BE0F-1E30C991302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8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17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D$93:$D$217</c:f>
              <c:numCache>
                <c:formatCode>General</c:formatCode>
                <c:ptCount val="125"/>
                <c:pt idx="101">
                  <c:v>11072</c:v>
                </c:pt>
                <c:pt idx="102">
                  <c:v>10729</c:v>
                </c:pt>
                <c:pt idx="103">
                  <c:v>10325</c:v>
                </c:pt>
                <c:pt idx="104">
                  <c:v>9869</c:v>
                </c:pt>
                <c:pt idx="105">
                  <c:v>9377</c:v>
                </c:pt>
                <c:pt idx="106">
                  <c:v>9035</c:v>
                </c:pt>
                <c:pt idx="107">
                  <c:v>8749</c:v>
                </c:pt>
                <c:pt idx="108">
                  <c:v>8456</c:v>
                </c:pt>
                <c:pt idx="109">
                  <c:v>8114</c:v>
                </c:pt>
                <c:pt idx="110">
                  <c:v>7773</c:v>
                </c:pt>
                <c:pt idx="111">
                  <c:v>7457</c:v>
                </c:pt>
                <c:pt idx="112">
                  <c:v>7173</c:v>
                </c:pt>
                <c:pt idx="113">
                  <c:v>6921</c:v>
                </c:pt>
                <c:pt idx="114">
                  <c:v>6668</c:v>
                </c:pt>
                <c:pt idx="115">
                  <c:v>6410</c:v>
                </c:pt>
                <c:pt idx="116">
                  <c:v>6153</c:v>
                </c:pt>
                <c:pt idx="117">
                  <c:v>5915</c:v>
                </c:pt>
                <c:pt idx="118">
                  <c:v>5693</c:v>
                </c:pt>
                <c:pt idx="119">
                  <c:v>5484</c:v>
                </c:pt>
                <c:pt idx="120">
                  <c:v>5280</c:v>
                </c:pt>
                <c:pt idx="121">
                  <c:v>5079</c:v>
                </c:pt>
                <c:pt idx="122">
                  <c:v>4884</c:v>
                </c:pt>
                <c:pt idx="123">
                  <c:v>4698</c:v>
                </c:pt>
                <c:pt idx="124">
                  <c:v>4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73D-4A48-BE0F-1E30C991302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17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E$93:$E$217</c:f>
              <c:numCache>
                <c:formatCode>General</c:formatCode>
                <c:ptCount val="125"/>
                <c:pt idx="101">
                  <c:v>12251</c:v>
                </c:pt>
                <c:pt idx="102">
                  <c:v>12073</c:v>
                </c:pt>
                <c:pt idx="103">
                  <c:v>11866</c:v>
                </c:pt>
                <c:pt idx="104">
                  <c:v>11620</c:v>
                </c:pt>
                <c:pt idx="105">
                  <c:v>11348</c:v>
                </c:pt>
                <c:pt idx="106">
                  <c:v>11150</c:v>
                </c:pt>
                <c:pt idx="107">
                  <c:v>10983</c:v>
                </c:pt>
                <c:pt idx="108">
                  <c:v>10810</c:v>
                </c:pt>
                <c:pt idx="109">
                  <c:v>10606</c:v>
                </c:pt>
                <c:pt idx="110">
                  <c:v>10398</c:v>
                </c:pt>
                <c:pt idx="111">
                  <c:v>10198</c:v>
                </c:pt>
                <c:pt idx="112">
                  <c:v>10016</c:v>
                </c:pt>
                <c:pt idx="113">
                  <c:v>9848</c:v>
                </c:pt>
                <c:pt idx="114">
                  <c:v>9679</c:v>
                </c:pt>
                <c:pt idx="115">
                  <c:v>9502</c:v>
                </c:pt>
                <c:pt idx="116">
                  <c:v>9323</c:v>
                </c:pt>
                <c:pt idx="117">
                  <c:v>9153</c:v>
                </c:pt>
                <c:pt idx="118">
                  <c:v>8991</c:v>
                </c:pt>
                <c:pt idx="119">
                  <c:v>8835</c:v>
                </c:pt>
                <c:pt idx="120">
                  <c:v>8679</c:v>
                </c:pt>
                <c:pt idx="121">
                  <c:v>8523</c:v>
                </c:pt>
                <c:pt idx="122">
                  <c:v>8368</c:v>
                </c:pt>
                <c:pt idx="123">
                  <c:v>8218</c:v>
                </c:pt>
                <c:pt idx="124">
                  <c:v>80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73D-4A48-BE0F-1E30C991302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17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F$93:$F$217</c:f>
              <c:numCache>
                <c:formatCode>General</c:formatCode>
                <c:ptCount val="125"/>
                <c:pt idx="101">
                  <c:v>14609</c:v>
                </c:pt>
                <c:pt idx="102">
                  <c:v>14844</c:v>
                </c:pt>
                <c:pt idx="103">
                  <c:v>15162</c:v>
                </c:pt>
                <c:pt idx="104">
                  <c:v>15501</c:v>
                </c:pt>
                <c:pt idx="105">
                  <c:v>15846</c:v>
                </c:pt>
                <c:pt idx="106">
                  <c:v>16076</c:v>
                </c:pt>
                <c:pt idx="107">
                  <c:v>16303</c:v>
                </c:pt>
                <c:pt idx="108">
                  <c:v>16578</c:v>
                </c:pt>
                <c:pt idx="109">
                  <c:v>16919</c:v>
                </c:pt>
                <c:pt idx="110">
                  <c:v>17259</c:v>
                </c:pt>
                <c:pt idx="111">
                  <c:v>17574</c:v>
                </c:pt>
                <c:pt idx="112">
                  <c:v>17871</c:v>
                </c:pt>
                <c:pt idx="113">
                  <c:v>18165</c:v>
                </c:pt>
                <c:pt idx="114">
                  <c:v>18491</c:v>
                </c:pt>
                <c:pt idx="115">
                  <c:v>18840</c:v>
                </c:pt>
                <c:pt idx="116">
                  <c:v>19196</c:v>
                </c:pt>
                <c:pt idx="117">
                  <c:v>19538</c:v>
                </c:pt>
                <c:pt idx="118">
                  <c:v>19877</c:v>
                </c:pt>
                <c:pt idx="119">
                  <c:v>20226</c:v>
                </c:pt>
                <c:pt idx="120">
                  <c:v>20590</c:v>
                </c:pt>
                <c:pt idx="121">
                  <c:v>20968</c:v>
                </c:pt>
                <c:pt idx="122">
                  <c:v>21349</c:v>
                </c:pt>
                <c:pt idx="123">
                  <c:v>21729</c:v>
                </c:pt>
                <c:pt idx="124">
                  <c:v>22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BC-47C2-8B14-B46001D177A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5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17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G$93:$G$217</c:f>
              <c:numCache>
                <c:formatCode>General</c:formatCode>
                <c:ptCount val="125"/>
                <c:pt idx="101">
                  <c:v>15198</c:v>
                </c:pt>
                <c:pt idx="102">
                  <c:v>15554</c:v>
                </c:pt>
                <c:pt idx="103">
                  <c:v>16031</c:v>
                </c:pt>
                <c:pt idx="104">
                  <c:v>16549</c:v>
                </c:pt>
                <c:pt idx="105">
                  <c:v>17086</c:v>
                </c:pt>
                <c:pt idx="106">
                  <c:v>17454</c:v>
                </c:pt>
                <c:pt idx="107">
                  <c:v>17816</c:v>
                </c:pt>
                <c:pt idx="108">
                  <c:v>18251</c:v>
                </c:pt>
                <c:pt idx="109">
                  <c:v>18796</c:v>
                </c:pt>
                <c:pt idx="110">
                  <c:v>19344</c:v>
                </c:pt>
                <c:pt idx="111">
                  <c:v>19859</c:v>
                </c:pt>
                <c:pt idx="112">
                  <c:v>20349</c:v>
                </c:pt>
                <c:pt idx="113">
                  <c:v>20840</c:v>
                </c:pt>
                <c:pt idx="114">
                  <c:v>21384</c:v>
                </c:pt>
                <c:pt idx="115">
                  <c:v>21972</c:v>
                </c:pt>
                <c:pt idx="116">
                  <c:v>22574</c:v>
                </c:pt>
                <c:pt idx="117">
                  <c:v>23162</c:v>
                </c:pt>
                <c:pt idx="118">
                  <c:v>23748</c:v>
                </c:pt>
                <c:pt idx="119">
                  <c:v>24356</c:v>
                </c:pt>
                <c:pt idx="120">
                  <c:v>24996</c:v>
                </c:pt>
                <c:pt idx="121">
                  <c:v>25663</c:v>
                </c:pt>
                <c:pt idx="122">
                  <c:v>26343</c:v>
                </c:pt>
                <c:pt idx="123">
                  <c:v>27029</c:v>
                </c:pt>
                <c:pt idx="124">
                  <c:v>27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5F-422B-9D83-5878610B18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E$2:$E$76</c:f>
              <c:numCache>
                <c:formatCode>General</c:formatCode>
                <c:ptCount val="75"/>
                <c:pt idx="0">
                  <c:v>1170</c:v>
                </c:pt>
                <c:pt idx="1">
                  <c:v>1214</c:v>
                </c:pt>
                <c:pt idx="2">
                  <c:v>1242</c:v>
                </c:pt>
                <c:pt idx="3">
                  <c:v>1267</c:v>
                </c:pt>
                <c:pt idx="4">
                  <c:v>1270</c:v>
                </c:pt>
                <c:pt idx="5">
                  <c:v>1271</c:v>
                </c:pt>
                <c:pt idx="6">
                  <c:v>1282</c:v>
                </c:pt>
                <c:pt idx="7">
                  <c:v>1364</c:v>
                </c:pt>
                <c:pt idx="8">
                  <c:v>1393</c:v>
                </c:pt>
                <c:pt idx="9">
                  <c:v>1410</c:v>
                </c:pt>
                <c:pt idx="10">
                  <c:v>1463</c:v>
                </c:pt>
                <c:pt idx="11">
                  <c:v>1439</c:v>
                </c:pt>
                <c:pt idx="12">
                  <c:v>1466</c:v>
                </c:pt>
                <c:pt idx="13">
                  <c:v>1504</c:v>
                </c:pt>
                <c:pt idx="14">
                  <c:v>1587</c:v>
                </c:pt>
                <c:pt idx="15">
                  <c:v>1599</c:v>
                </c:pt>
                <c:pt idx="16">
                  <c:v>1625</c:v>
                </c:pt>
                <c:pt idx="17">
                  <c:v>1650</c:v>
                </c:pt>
                <c:pt idx="18">
                  <c:v>1670</c:v>
                </c:pt>
                <c:pt idx="19">
                  <c:v>1673</c:v>
                </c:pt>
                <c:pt idx="20">
                  <c:v>1676</c:v>
                </c:pt>
                <c:pt idx="21">
                  <c:v>1770</c:v>
                </c:pt>
                <c:pt idx="22">
                  <c:v>1798</c:v>
                </c:pt>
                <c:pt idx="23">
                  <c:v>1829</c:v>
                </c:pt>
                <c:pt idx="24">
                  <c:v>1819</c:v>
                </c:pt>
                <c:pt idx="25">
                  <c:v>1835</c:v>
                </c:pt>
                <c:pt idx="26">
                  <c:v>1784</c:v>
                </c:pt>
                <c:pt idx="27">
                  <c:v>1831</c:v>
                </c:pt>
                <c:pt idx="28">
                  <c:v>1889</c:v>
                </c:pt>
                <c:pt idx="29">
                  <c:v>1894</c:v>
                </c:pt>
                <c:pt idx="30">
                  <c:v>1864</c:v>
                </c:pt>
                <c:pt idx="31">
                  <c:v>1864</c:v>
                </c:pt>
                <c:pt idx="32">
                  <c:v>1824</c:v>
                </c:pt>
                <c:pt idx="33">
                  <c:v>1788</c:v>
                </c:pt>
                <c:pt idx="34">
                  <c:v>1811</c:v>
                </c:pt>
                <c:pt idx="35">
                  <c:v>1826</c:v>
                </c:pt>
                <c:pt idx="36">
                  <c:v>1783</c:v>
                </c:pt>
                <c:pt idx="37">
                  <c:v>1749</c:v>
                </c:pt>
                <c:pt idx="38">
                  <c:v>1748</c:v>
                </c:pt>
                <c:pt idx="39">
                  <c:v>1687</c:v>
                </c:pt>
                <c:pt idx="40">
                  <c:v>1649</c:v>
                </c:pt>
                <c:pt idx="41">
                  <c:v>1663</c:v>
                </c:pt>
                <c:pt idx="42">
                  <c:v>1670</c:v>
                </c:pt>
                <c:pt idx="43">
                  <c:v>1617</c:v>
                </c:pt>
                <c:pt idx="44">
                  <c:v>1546</c:v>
                </c:pt>
                <c:pt idx="45">
                  <c:v>1471</c:v>
                </c:pt>
                <c:pt idx="46">
                  <c:v>1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97-40CB-B839-EFC1D5457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B$2:$B$76</c:f>
              <c:numCache>
                <c:formatCode>General</c:formatCode>
                <c:ptCount val="75"/>
                <c:pt idx="10">
                  <c:v>1429.4057922113973</c:v>
                </c:pt>
                <c:pt idx="11">
                  <c:v>1466.979520450727</c:v>
                </c:pt>
                <c:pt idx="12">
                  <c:v>1497.5676799270993</c:v>
                </c:pt>
                <c:pt idx="13">
                  <c:v>1530.1143722739241</c:v>
                </c:pt>
                <c:pt idx="14">
                  <c:v>1566.0945236990567</c:v>
                </c:pt>
                <c:pt idx="15">
                  <c:v>1605.217561113328</c:v>
                </c:pt>
                <c:pt idx="16">
                  <c:v>1647.7651202963684</c:v>
                </c:pt>
                <c:pt idx="17">
                  <c:v>1692.9778172454521</c:v>
                </c:pt>
                <c:pt idx="18">
                  <c:v>1739.8399359103437</c:v>
                </c:pt>
                <c:pt idx="19">
                  <c:v>1788.6622962522986</c:v>
                </c:pt>
                <c:pt idx="20">
                  <c:v>1839.797493822153</c:v>
                </c:pt>
                <c:pt idx="21">
                  <c:v>1892.5569430208304</c:v>
                </c:pt>
                <c:pt idx="22">
                  <c:v>1946.5993302412858</c:v>
                </c:pt>
                <c:pt idx="23">
                  <c:v>2002.1579775419818</c:v>
                </c:pt>
                <c:pt idx="24">
                  <c:v>2059.3383816136243</c:v>
                </c:pt>
                <c:pt idx="25">
                  <c:v>2118.1980192777773</c:v>
                </c:pt>
                <c:pt idx="26">
                  <c:v>2178.6018720708666</c:v>
                </c:pt>
                <c:pt idx="27">
                  <c:v>2240.2080049072774</c:v>
                </c:pt>
                <c:pt idx="28">
                  <c:v>2302.5473771478496</c:v>
                </c:pt>
                <c:pt idx="29">
                  <c:v>2365.532365994834</c:v>
                </c:pt>
                <c:pt idx="30">
                  <c:v>2429.1138292499654</c:v>
                </c:pt>
                <c:pt idx="31">
                  <c:v>2493.1742499211987</c:v>
                </c:pt>
                <c:pt idx="32">
                  <c:v>2557.5543977722409</c:v>
                </c:pt>
                <c:pt idx="33">
                  <c:v>2622.1725256781601</c:v>
                </c:pt>
                <c:pt idx="34">
                  <c:v>2686.9391026860021</c:v>
                </c:pt>
                <c:pt idx="35">
                  <c:v>2751.5924668166335</c:v>
                </c:pt>
                <c:pt idx="36">
                  <c:v>2815.9674191816312</c:v>
                </c:pt>
                <c:pt idx="37">
                  <c:v>2879.859628869759</c:v>
                </c:pt>
                <c:pt idx="38">
                  <c:v>2943.0717402295436</c:v>
                </c:pt>
                <c:pt idx="39">
                  <c:v>3005.4589194224491</c:v>
                </c:pt>
                <c:pt idx="40">
                  <c:v>3066.88754677114</c:v>
                </c:pt>
                <c:pt idx="41">
                  <c:v>3127.1594074747177</c:v>
                </c:pt>
                <c:pt idx="42">
                  <c:v>3186.0761636806214</c:v>
                </c:pt>
                <c:pt idx="43">
                  <c:v>3243.4792573267587</c:v>
                </c:pt>
                <c:pt idx="44">
                  <c:v>3299.1725306036883</c:v>
                </c:pt>
                <c:pt idx="45">
                  <c:v>3352.9733911722424</c:v>
                </c:pt>
                <c:pt idx="46">
                  <c:v>3404.7307492214168</c:v>
                </c:pt>
                <c:pt idx="47">
                  <c:v>3454.2612582068282</c:v>
                </c:pt>
                <c:pt idx="48">
                  <c:v>3501.3939385272606</c:v>
                </c:pt>
                <c:pt idx="49">
                  <c:v>3545.9643401771659</c:v>
                </c:pt>
                <c:pt idx="50">
                  <c:v>3587.795704635631</c:v>
                </c:pt>
                <c:pt idx="51">
                  <c:v>3626.73424416735</c:v>
                </c:pt>
                <c:pt idx="52">
                  <c:v>3662.6360323633298</c:v>
                </c:pt>
                <c:pt idx="53">
                  <c:v>3695.3659122873019</c:v>
                </c:pt>
                <c:pt idx="54">
                  <c:v>3724.8009227368948</c:v>
                </c:pt>
                <c:pt idx="55">
                  <c:v>3750.8235604995984</c:v>
                </c:pt>
                <c:pt idx="56">
                  <c:v>3773.3218270193897</c:v>
                </c:pt>
                <c:pt idx="57">
                  <c:v>3792.191035847366</c:v>
                </c:pt>
                <c:pt idx="58">
                  <c:v>3807.3407267451566</c:v>
                </c:pt>
                <c:pt idx="59">
                  <c:v>3818.6976936117617</c:v>
                </c:pt>
                <c:pt idx="60">
                  <c:v>3826.2113602231311</c:v>
                </c:pt>
                <c:pt idx="61">
                  <c:v>3829.8505175318192</c:v>
                </c:pt>
                <c:pt idx="62">
                  <c:v>3829.5815214059794</c:v>
                </c:pt>
                <c:pt idx="63">
                  <c:v>3825.3898368390815</c:v>
                </c:pt>
                <c:pt idx="64">
                  <c:v>3817.2865923854506</c:v>
                </c:pt>
                <c:pt idx="65">
                  <c:v>3805.2838962020132</c:v>
                </c:pt>
                <c:pt idx="66">
                  <c:v>3789.4085741173044</c:v>
                </c:pt>
                <c:pt idx="67">
                  <c:v>3769.7112187005418</c:v>
                </c:pt>
                <c:pt idx="68">
                  <c:v>3746.2610698914323</c:v>
                </c:pt>
                <c:pt idx="69">
                  <c:v>3719.1333287697648</c:v>
                </c:pt>
                <c:pt idx="70">
                  <c:v>3688.4190737765612</c:v>
                </c:pt>
                <c:pt idx="71">
                  <c:v>3654.2233202133662</c:v>
                </c:pt>
                <c:pt idx="72">
                  <c:v>3616.6623633838644</c:v>
                </c:pt>
                <c:pt idx="73">
                  <c:v>3575.8629208701977</c:v>
                </c:pt>
                <c:pt idx="74">
                  <c:v>3531.96309206288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297-40CB-B839-EFC1D54577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C$2:$C$76</c:f>
              <c:numCache>
                <c:formatCode>General</c:formatCode>
                <c:ptCount val="75"/>
                <c:pt idx="10">
                  <c:v>1429.4057922113973</c:v>
                </c:pt>
                <c:pt idx="11">
                  <c:v>1466.979520450727</c:v>
                </c:pt>
                <c:pt idx="12">
                  <c:v>1496.2242025043868</c:v>
                </c:pt>
                <c:pt idx="13">
                  <c:v>1525.1338129685082</c:v>
                </c:pt>
                <c:pt idx="14">
                  <c:v>1554.6393721555532</c:v>
                </c:pt>
                <c:pt idx="15">
                  <c:v>1584.1264731757331</c:v>
                </c:pt>
                <c:pt idx="16">
                  <c:v>1613.6755506954005</c:v>
                </c:pt>
                <c:pt idx="17">
                  <c:v>1642.386625332819</c:v>
                </c:pt>
                <c:pt idx="18">
                  <c:v>1669.1505635848287</c:v>
                </c:pt>
                <c:pt idx="19">
                  <c:v>1694.2254739486821</c:v>
                </c:pt>
                <c:pt idx="20">
                  <c:v>1717.962339821685</c:v>
                </c:pt>
                <c:pt idx="21">
                  <c:v>1739.7135982905395</c:v>
                </c:pt>
                <c:pt idx="22">
                  <c:v>1759.2221596459206</c:v>
                </c:pt>
                <c:pt idx="23">
                  <c:v>1776.8616617506239</c:v>
                </c:pt>
                <c:pt idx="24">
                  <c:v>1792.9094636235241</c:v>
                </c:pt>
                <c:pt idx="25">
                  <c:v>1807.6052495258771</c:v>
                </c:pt>
                <c:pt idx="26">
                  <c:v>1821.0015193052272</c:v>
                </c:pt>
                <c:pt idx="27">
                  <c:v>1832.9524722347398</c:v>
                </c:pt>
                <c:pt idx="28">
                  <c:v>1843.1884013731724</c:v>
                </c:pt>
                <c:pt idx="29">
                  <c:v>1851.8207532464928</c:v>
                </c:pt>
                <c:pt idx="30">
                  <c:v>1858.9965696135307</c:v>
                </c:pt>
                <c:pt idx="31">
                  <c:v>1864.7942625927742</c:v>
                </c:pt>
                <c:pt idx="32">
                  <c:v>1869.2557792213454</c:v>
                </c:pt>
                <c:pt idx="33">
                  <c:v>1872.5088135606486</c:v>
                </c:pt>
                <c:pt idx="34">
                  <c:v>1874.6793788054738</c:v>
                </c:pt>
                <c:pt idx="35">
                  <c:v>1875.7194001739056</c:v>
                </c:pt>
                <c:pt idx="36">
                  <c:v>1875.6736944291979</c:v>
                </c:pt>
                <c:pt idx="37">
                  <c:v>1874.5455423986693</c:v>
                </c:pt>
                <c:pt idx="38">
                  <c:v>1872.3446953953849</c:v>
                </c:pt>
                <c:pt idx="39">
                  <c:v>1869.1327711383892</c:v>
                </c:pt>
                <c:pt idx="40">
                  <c:v>1864.9826745792443</c:v>
                </c:pt>
                <c:pt idx="41">
                  <c:v>1859.9030685917805</c:v>
                </c:pt>
                <c:pt idx="42">
                  <c:v>1853.9026402148752</c:v>
                </c:pt>
                <c:pt idx="43">
                  <c:v>1847.0301586687599</c:v>
                </c:pt>
                <c:pt idx="44">
                  <c:v>1839.2952736176696</c:v>
                </c:pt>
                <c:pt idx="45">
                  <c:v>1830.7190640783599</c:v>
                </c:pt>
                <c:pt idx="46">
                  <c:v>1821.3516343819558</c:v>
                </c:pt>
                <c:pt idx="47">
                  <c:v>1811.208036655536</c:v>
                </c:pt>
                <c:pt idx="48">
                  <c:v>1800.3120175447932</c:v>
                </c:pt>
                <c:pt idx="49">
                  <c:v>1788.68935520429</c:v>
                </c:pt>
                <c:pt idx="50">
                  <c:v>1776.3480483892145</c:v>
                </c:pt>
                <c:pt idx="51">
                  <c:v>1763.31258616234</c:v>
                </c:pt>
                <c:pt idx="52">
                  <c:v>1749.6101755523362</c:v>
                </c:pt>
                <c:pt idx="53">
                  <c:v>1735.2685813869539</c:v>
                </c:pt>
                <c:pt idx="54">
                  <c:v>1720.3185391080601</c:v>
                </c:pt>
                <c:pt idx="55">
                  <c:v>1704.7861751836444</c:v>
                </c:pt>
                <c:pt idx="56">
                  <c:v>1688.6919659952371</c:v>
                </c:pt>
                <c:pt idx="57">
                  <c:v>1672.051698791345</c:v>
                </c:pt>
                <c:pt idx="58">
                  <c:v>1654.882724969955</c:v>
                </c:pt>
                <c:pt idx="59">
                  <c:v>1637.206320074147</c:v>
                </c:pt>
                <c:pt idx="60">
                  <c:v>1619.0524567071473</c:v>
                </c:pt>
                <c:pt idx="61">
                  <c:v>1600.4560478108613</c:v>
                </c:pt>
                <c:pt idx="62">
                  <c:v>1581.4348642172199</c:v>
                </c:pt>
                <c:pt idx="63">
                  <c:v>1562.0108592492761</c:v>
                </c:pt>
                <c:pt idx="64">
                  <c:v>1542.216452889578</c:v>
                </c:pt>
                <c:pt idx="65">
                  <c:v>1522.0696221179332</c:v>
                </c:pt>
                <c:pt idx="66">
                  <c:v>1501.5876464082237</c:v>
                </c:pt>
                <c:pt idx="67">
                  <c:v>1480.7964666680075</c:v>
                </c:pt>
                <c:pt idx="68">
                  <c:v>1459.7259946889396</c:v>
                </c:pt>
                <c:pt idx="69">
                  <c:v>1438.3977480320746</c:v>
                </c:pt>
                <c:pt idx="70">
                  <c:v>1416.8353479424061</c:v>
                </c:pt>
                <c:pt idx="71">
                  <c:v>1395.0632283200569</c:v>
                </c:pt>
                <c:pt idx="72">
                  <c:v>1373.104655193082</c:v>
                </c:pt>
                <c:pt idx="73">
                  <c:v>1350.981537112536</c:v>
                </c:pt>
                <c:pt idx="74">
                  <c:v>1328.71630084036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297-40CB-B839-EFC1D54577D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D$2:$D$76</c:f>
              <c:numCache>
                <c:formatCode>General</c:formatCode>
                <c:ptCount val="75"/>
                <c:pt idx="10">
                  <c:v>1429.4057922113973</c:v>
                </c:pt>
                <c:pt idx="11">
                  <c:v>1466.979520450727</c:v>
                </c:pt>
                <c:pt idx="12">
                  <c:v>1495.1941158352784</c:v>
                </c:pt>
                <c:pt idx="13">
                  <c:v>1521.3144000269588</c:v>
                </c:pt>
                <c:pt idx="14">
                  <c:v>1545.8844399062486</c:v>
                </c:pt>
                <c:pt idx="15">
                  <c:v>1568.108093311045</c:v>
                </c:pt>
                <c:pt idx="16">
                  <c:v>1588.0069266096623</c:v>
                </c:pt>
                <c:pt idx="17">
                  <c:v>1604.6875563229562</c:v>
                </c:pt>
                <c:pt idx="18">
                  <c:v>1617.0941612472586</c:v>
                </c:pt>
                <c:pt idx="19">
                  <c:v>1625.5738291495509</c:v>
                </c:pt>
                <c:pt idx="20">
                  <c:v>1630.6057332220821</c:v>
                </c:pt>
                <c:pt idx="21">
                  <c:v>1631.6999104094641</c:v>
                </c:pt>
                <c:pt idx="22">
                  <c:v>1628.7838106264323</c:v>
                </c:pt>
                <c:pt idx="23">
                  <c:v>1622.4500167059855</c:v>
                </c:pt>
                <c:pt idx="24">
                  <c:v>1613.2083065414204</c:v>
                </c:pt>
                <c:pt idx="25">
                  <c:v>1601.5257909879692</c:v>
                </c:pt>
                <c:pt idx="26">
                  <c:v>1587.6719173160634</c:v>
                </c:pt>
                <c:pt idx="27">
                  <c:v>1571.7090993714789</c:v>
                </c:pt>
                <c:pt idx="28">
                  <c:v>1553.5627419180764</c:v>
                </c:pt>
                <c:pt idx="29">
                  <c:v>1533.5236517681385</c:v>
                </c:pt>
                <c:pt idx="30">
                  <c:v>1511.9007295804511</c:v>
                </c:pt>
                <c:pt idx="31">
                  <c:v>1488.91923796379</c:v>
                </c:pt>
                <c:pt idx="32">
                  <c:v>1464.7578392378134</c:v>
                </c:pt>
                <c:pt idx="33">
                  <c:v>1439.6738080636214</c:v>
                </c:pt>
                <c:pt idx="34">
                  <c:v>1413.9145308012812</c:v>
                </c:pt>
                <c:pt idx="35">
                  <c:v>1387.5393906401036</c:v>
                </c:pt>
                <c:pt idx="36">
                  <c:v>1360.6859890267856</c:v>
                </c:pt>
                <c:pt idx="37">
                  <c:v>1333.4373041442054</c:v>
                </c:pt>
                <c:pt idx="38">
                  <c:v>1305.8720020507562</c:v>
                </c:pt>
                <c:pt idx="39">
                  <c:v>1278.1106287250336</c:v>
                </c:pt>
                <c:pt idx="40">
                  <c:v>1250.2764969282609</c:v>
                </c:pt>
                <c:pt idx="41">
                  <c:v>1222.4212894714631</c:v>
                </c:pt>
                <c:pt idx="42">
                  <c:v>1194.5900811066497</c:v>
                </c:pt>
                <c:pt idx="43">
                  <c:v>1166.8624260824295</c:v>
                </c:pt>
                <c:pt idx="44">
                  <c:v>1139.2726774082012</c:v>
                </c:pt>
                <c:pt idx="45">
                  <c:v>1111.860982094302</c:v>
                </c:pt>
                <c:pt idx="46">
                  <c:v>1084.6915757485026</c:v>
                </c:pt>
                <c:pt idx="47">
                  <c:v>1057.7894499820272</c:v>
                </c:pt>
                <c:pt idx="48">
                  <c:v>1031.1844270987062</c:v>
                </c:pt>
                <c:pt idx="49">
                  <c:v>1004.9048616915626</c:v>
                </c:pt>
                <c:pt idx="50">
                  <c:v>978.95808034218271</c:v>
                </c:pt>
                <c:pt idx="51">
                  <c:v>953.36486712356418</c:v>
                </c:pt>
                <c:pt idx="52">
                  <c:v>928.14616210310487</c:v>
                </c:pt>
                <c:pt idx="53">
                  <c:v>903.32104440178034</c:v>
                </c:pt>
                <c:pt idx="54">
                  <c:v>878.90929746085953</c:v>
                </c:pt>
                <c:pt idx="55">
                  <c:v>854.92407786299532</c:v>
                </c:pt>
                <c:pt idx="56">
                  <c:v>831.37089179579812</c:v>
                </c:pt>
                <c:pt idx="57">
                  <c:v>808.2487052169771</c:v>
                </c:pt>
                <c:pt idx="58">
                  <c:v>785.55643267627295</c:v>
                </c:pt>
                <c:pt idx="59">
                  <c:v>763.29546191827251</c:v>
                </c:pt>
                <c:pt idx="60">
                  <c:v>741.47456497726</c:v>
                </c:pt>
                <c:pt idx="61">
                  <c:v>720.10628052935112</c:v>
                </c:pt>
                <c:pt idx="62">
                  <c:v>699.18504719421696</c:v>
                </c:pt>
                <c:pt idx="63">
                  <c:v>678.70869883675732</c:v>
                </c:pt>
                <c:pt idx="64">
                  <c:v>658.6847834043773</c:v>
                </c:pt>
                <c:pt idx="65">
                  <c:v>639.10562287845244</c:v>
                </c:pt>
                <c:pt idx="66">
                  <c:v>619.96211110638478</c:v>
                </c:pt>
                <c:pt idx="67">
                  <c:v>601.25326520243607</c:v>
                </c:pt>
                <c:pt idx="68">
                  <c:v>582.98172785769441</c:v>
                </c:pt>
                <c:pt idx="69">
                  <c:v>565.14141991422218</c:v>
                </c:pt>
                <c:pt idx="70">
                  <c:v>547.72816483630595</c:v>
                </c:pt>
                <c:pt idx="71">
                  <c:v>530.73849462287558</c:v>
                </c:pt>
                <c:pt idx="72">
                  <c:v>514.16770988731207</c:v>
                </c:pt>
                <c:pt idx="73">
                  <c:v>498.00965470785184</c:v>
                </c:pt>
                <c:pt idx="74">
                  <c:v>482.25868641405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297-40CB-B839-EFC1D5457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37218278064565652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E$2:$E$76</c:f>
              <c:numCache>
                <c:formatCode>General</c:formatCode>
                <c:ptCount val="75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6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2</c:v>
                </c:pt>
                <c:pt idx="20">
                  <c:v>713</c:v>
                </c:pt>
                <c:pt idx="21">
                  <c:v>1036</c:v>
                </c:pt>
                <c:pt idx="22">
                  <c:v>977</c:v>
                </c:pt>
                <c:pt idx="23">
                  <c:v>1026</c:v>
                </c:pt>
                <c:pt idx="24">
                  <c:v>928</c:v>
                </c:pt>
                <c:pt idx="25">
                  <c:v>966</c:v>
                </c:pt>
                <c:pt idx="26">
                  <c:v>746</c:v>
                </c:pt>
                <c:pt idx="27">
                  <c:v>652</c:v>
                </c:pt>
                <c:pt idx="28">
                  <c:v>1025</c:v>
                </c:pt>
                <c:pt idx="29">
                  <c:v>918</c:v>
                </c:pt>
                <c:pt idx="30">
                  <c:v>870</c:v>
                </c:pt>
                <c:pt idx="31">
                  <c:v>809</c:v>
                </c:pt>
                <c:pt idx="32">
                  <c:v>806</c:v>
                </c:pt>
                <c:pt idx="33">
                  <c:v>557</c:v>
                </c:pt>
                <c:pt idx="34">
                  <c:v>563</c:v>
                </c:pt>
                <c:pt idx="35">
                  <c:v>926</c:v>
                </c:pt>
                <c:pt idx="36">
                  <c:v>763</c:v>
                </c:pt>
                <c:pt idx="37">
                  <c:v>742</c:v>
                </c:pt>
                <c:pt idx="38">
                  <c:v>727</c:v>
                </c:pt>
                <c:pt idx="39">
                  <c:v>705</c:v>
                </c:pt>
                <c:pt idx="40">
                  <c:v>556</c:v>
                </c:pt>
                <c:pt idx="41">
                  <c:v>495</c:v>
                </c:pt>
                <c:pt idx="42">
                  <c:v>789</c:v>
                </c:pt>
                <c:pt idx="43">
                  <c:v>646</c:v>
                </c:pt>
                <c:pt idx="44">
                  <c:v>637</c:v>
                </c:pt>
                <c:pt idx="45">
                  <c:v>557</c:v>
                </c:pt>
                <c:pt idx="46">
                  <c:v>4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C9-4611-A8BC-039F8A68CC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B$2:$B$76</c:f>
              <c:numCache>
                <c:formatCode>General</c:formatCode>
                <c:ptCount val="75"/>
                <c:pt idx="12">
                  <c:v>899.01937349467585</c:v>
                </c:pt>
                <c:pt idx="13">
                  <c:v>924.07018530509401</c:v>
                </c:pt>
                <c:pt idx="14">
                  <c:v>959.76515651014722</c:v>
                </c:pt>
                <c:pt idx="15">
                  <c:v>995.09363489885538</c:v>
                </c:pt>
                <c:pt idx="16">
                  <c:v>1029.2091923581786</c:v>
                </c:pt>
                <c:pt idx="17">
                  <c:v>1064.119091627932</c:v>
                </c:pt>
                <c:pt idx="18">
                  <c:v>1098.6082607487954</c:v>
                </c:pt>
                <c:pt idx="19">
                  <c:v>1132.6398205605251</c:v>
                </c:pt>
                <c:pt idx="20">
                  <c:v>1168.2876198228087</c:v>
                </c:pt>
                <c:pt idx="21">
                  <c:v>1205.0812216278919</c:v>
                </c:pt>
                <c:pt idx="22">
                  <c:v>1242.5495503794905</c:v>
                </c:pt>
                <c:pt idx="23">
                  <c:v>1280.8394538234338</c:v>
                </c:pt>
                <c:pt idx="24">
                  <c:v>1319.5623793354348</c:v>
                </c:pt>
                <c:pt idx="25">
                  <c:v>1358.7113779373453</c:v>
                </c:pt>
                <c:pt idx="26">
                  <c:v>1398.3538783766764</c:v>
                </c:pt>
                <c:pt idx="27">
                  <c:v>1438.291403887549</c:v>
                </c:pt>
                <c:pt idx="28">
                  <c:v>1478.5751944749866</c:v>
                </c:pt>
                <c:pt idx="29">
                  <c:v>1519.0761371864292</c:v>
                </c:pt>
                <c:pt idx="30">
                  <c:v>1559.6030425840336</c:v>
                </c:pt>
                <c:pt idx="31">
                  <c:v>1600.0154842039865</c:v>
                </c:pt>
                <c:pt idx="32">
                  <c:v>1640.3234964777359</c:v>
                </c:pt>
                <c:pt idx="33">
                  <c:v>1680.5200424440825</c:v>
                </c:pt>
                <c:pt idx="34">
                  <c:v>1720.3728559391518</c:v>
                </c:pt>
                <c:pt idx="35">
                  <c:v>1759.9260968887334</c:v>
                </c:pt>
                <c:pt idx="36">
                  <c:v>1799.1065443490982</c:v>
                </c:pt>
                <c:pt idx="37">
                  <c:v>1837.6146594903514</c:v>
                </c:pt>
                <c:pt idx="38">
                  <c:v>1875.3444423052808</c:v>
                </c:pt>
                <c:pt idx="39">
                  <c:v>1912.2485538939525</c:v>
                </c:pt>
                <c:pt idx="40">
                  <c:v>1948.2394641071946</c:v>
                </c:pt>
                <c:pt idx="41">
                  <c:v>1983.2013824251219</c:v>
                </c:pt>
                <c:pt idx="42">
                  <c:v>2017.0277810969114</c:v>
                </c:pt>
                <c:pt idx="43">
                  <c:v>2049.61083223985</c:v>
                </c:pt>
                <c:pt idx="44">
                  <c:v>2080.8263057464105</c:v>
                </c:pt>
                <c:pt idx="45">
                  <c:v>2110.5656780082486</c:v>
                </c:pt>
                <c:pt idx="46">
                  <c:v>2138.722976228265</c:v>
                </c:pt>
                <c:pt idx="47">
                  <c:v>2165.1955152809178</c:v>
                </c:pt>
                <c:pt idx="48">
                  <c:v>2189.884635769572</c:v>
                </c:pt>
                <c:pt idx="49">
                  <c:v>2212.6964348643014</c:v>
                </c:pt>
                <c:pt idx="50">
                  <c:v>2233.5424812168812</c:v>
                </c:pt>
                <c:pt idx="51">
                  <c:v>2252.3405051113514</c:v>
                </c:pt>
                <c:pt idx="52">
                  <c:v>2269.0150550275539</c:v>
                </c:pt>
                <c:pt idx="53">
                  <c:v>2283.4981119797826</c:v>
                </c:pt>
                <c:pt idx="54">
                  <c:v>2295.7296533443141</c:v>
                </c:pt>
                <c:pt idx="55">
                  <c:v>2305.6581584071955</c:v>
                </c:pt>
                <c:pt idx="56">
                  <c:v>2313.2410485423211</c:v>
                </c:pt>
                <c:pt idx="57">
                  <c:v>2318.4450557544756</c:v>
                </c:pt>
                <c:pt idx="58">
                  <c:v>2321.2465142838591</c:v>
                </c:pt>
                <c:pt idx="59">
                  <c:v>2321.631571041657</c:v>
                </c:pt>
                <c:pt idx="60">
                  <c:v>2319.5963118128911</c:v>
                </c:pt>
                <c:pt idx="61">
                  <c:v>2315.1468013939407</c:v>
                </c:pt>
                <c:pt idx="62">
                  <c:v>2308.2990371056085</c:v>
                </c:pt>
                <c:pt idx="63">
                  <c:v>2299.0788164004621</c:v>
                </c:pt>
                <c:pt idx="64">
                  <c:v>2287.5215205488867</c:v>
                </c:pt>
                <c:pt idx="65">
                  <c:v>2273.6718176027739</c:v>
                </c:pt>
                <c:pt idx="66">
                  <c:v>2257.5832889787189</c:v>
                </c:pt>
                <c:pt idx="67">
                  <c:v>2239.3179850487318</c:v>
                </c:pt>
                <c:pt idx="68">
                  <c:v>2218.9459160535635</c:v>
                </c:pt>
                <c:pt idx="69">
                  <c:v>2196.5444854439129</c:v>
                </c:pt>
                <c:pt idx="70">
                  <c:v>2172.197873399341</c:v>
                </c:pt>
                <c:pt idx="71">
                  <c:v>2145.996378756483</c:v>
                </c:pt>
                <c:pt idx="72">
                  <c:v>2118.0357279010736</c:v>
                </c:pt>
                <c:pt idx="73">
                  <c:v>2088.4163593372687</c:v>
                </c:pt>
                <c:pt idx="74">
                  <c:v>2057.24269264519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4C9-4611-A8BC-039F8A68CC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C$2:$C$76</c:f>
              <c:numCache>
                <c:formatCode>General</c:formatCode>
                <c:ptCount val="75"/>
                <c:pt idx="12">
                  <c:v>891.9535617695982</c:v>
                </c:pt>
                <c:pt idx="13">
                  <c:v>904.62099440500629</c:v>
                </c:pt>
                <c:pt idx="14">
                  <c:v>924.426391402984</c:v>
                </c:pt>
                <c:pt idx="15">
                  <c:v>941.24933121261711</c:v>
                </c:pt>
                <c:pt idx="16">
                  <c:v>954.67947778097096</c:v>
                </c:pt>
                <c:pt idx="17">
                  <c:v>966.88696141929188</c:v>
                </c:pt>
                <c:pt idx="18">
                  <c:v>976.76951435942226</c:v>
                </c:pt>
                <c:pt idx="19">
                  <c:v>984.3611030520434</c:v>
                </c:pt>
                <c:pt idx="20">
                  <c:v>991.87712632442651</c:v>
                </c:pt>
                <c:pt idx="21">
                  <c:v>998.99052000061818</c:v>
                </c:pt>
                <c:pt idx="22">
                  <c:v>1005.3529918900882</c:v>
                </c:pt>
                <c:pt idx="23">
                  <c:v>1011.2523397882903</c:v>
                </c:pt>
                <c:pt idx="24">
                  <c:v>1016.42476520276</c:v>
                </c:pt>
                <c:pt idx="25">
                  <c:v>1020.9701471079723</c:v>
                </c:pt>
                <c:pt idx="26">
                  <c:v>1025.0528979853702</c:v>
                </c:pt>
                <c:pt idx="27">
                  <c:v>1028.5730670546227</c:v>
                </c:pt>
                <c:pt idx="28">
                  <c:v>1031.675661892833</c:v>
                </c:pt>
                <c:pt idx="29">
                  <c:v>1034.3289345300443</c:v>
                </c:pt>
                <c:pt idx="30">
                  <c:v>1036.4375266999471</c:v>
                </c:pt>
                <c:pt idx="31">
                  <c:v>1037.9581603534757</c:v>
                </c:pt>
                <c:pt idx="32">
                  <c:v>1039.0013212388517</c:v>
                </c:pt>
                <c:pt idx="33">
                  <c:v>1039.6609695193283</c:v>
                </c:pt>
                <c:pt idx="34">
                  <c:v>1039.8117813773401</c:v>
                </c:pt>
                <c:pt idx="35">
                  <c:v>1039.6040271013683</c:v>
                </c:pt>
                <c:pt idx="36">
                  <c:v>1039.0755404519734</c:v>
                </c:pt>
                <c:pt idx="37">
                  <c:v>1038.0385301708304</c:v>
                </c:pt>
                <c:pt idx="38">
                  <c:v>1036.4996687331293</c:v>
                </c:pt>
                <c:pt idx="39">
                  <c:v>1034.5286242807892</c:v>
                </c:pt>
                <c:pt idx="40">
                  <c:v>1032.1533704152455</c:v>
                </c:pt>
                <c:pt idx="41">
                  <c:v>1029.3763498472886</c:v>
                </c:pt>
                <c:pt idx="42">
                  <c:v>1026.2105836806945</c:v>
                </c:pt>
                <c:pt idx="43">
                  <c:v>1022.6686622908138</c:v>
                </c:pt>
                <c:pt idx="44">
                  <c:v>1018.744663309758</c:v>
                </c:pt>
                <c:pt idx="45">
                  <c:v>1014.4462235158917</c:v>
                </c:pt>
                <c:pt idx="46">
                  <c:v>1009.7809777901078</c:v>
                </c:pt>
                <c:pt idx="47">
                  <c:v>1004.7567131889707</c:v>
                </c:pt>
                <c:pt idx="48">
                  <c:v>999.38144204726245</c:v>
                </c:pt>
                <c:pt idx="49">
                  <c:v>993.66343545830932</c:v>
                </c:pt>
                <c:pt idx="50">
                  <c:v>987.61123668576113</c:v>
                </c:pt>
                <c:pt idx="51">
                  <c:v>981.23366376844979</c:v>
                </c:pt>
                <c:pt idx="52">
                  <c:v>974.53980574739433</c:v>
                </c:pt>
                <c:pt idx="53">
                  <c:v>967.53901469161463</c:v>
                </c:pt>
                <c:pt idx="54">
                  <c:v>960.24089465723455</c:v>
                </c:pt>
                <c:pt idx="55">
                  <c:v>952.65528823388411</c:v>
                </c:pt>
                <c:pt idx="56">
                  <c:v>944.79226111184551</c:v>
                </c:pt>
                <c:pt idx="57">
                  <c:v>936.66208499734341</c:v>
                </c:pt>
                <c:pt idx="58">
                  <c:v>928.27521915249611</c:v>
                </c:pt>
                <c:pt idx="59">
                  <c:v>919.64229080380119</c:v>
                </c:pt>
                <c:pt idx="60">
                  <c:v>910.77407464336125</c:v>
                </c:pt>
                <c:pt idx="61">
                  <c:v>901.68147163034519</c:v>
                </c:pt>
                <c:pt idx="62">
                  <c:v>892.37548728331546</c:v>
                </c:pt>
                <c:pt idx="63">
                  <c:v>882.86720964192978</c:v>
                </c:pt>
                <c:pt idx="64">
                  <c:v>873.16778706121534</c:v>
                </c:pt>
                <c:pt idx="65">
                  <c:v>863.2884059894194</c:v>
                </c:pt>
                <c:pt idx="66">
                  <c:v>853.24026886738613</c:v>
                </c:pt>
                <c:pt idx="67">
                  <c:v>843.03457227659499</c:v>
                </c:pt>
                <c:pt idx="68">
                  <c:v>832.68248544963535</c:v>
                </c:pt>
                <c:pt idx="69">
                  <c:v>822.19512924852245</c:v>
                </c:pt>
                <c:pt idx="70">
                  <c:v>811.58355570313506</c:v>
                </c:pt>
                <c:pt idx="71">
                  <c:v>800.85872819446888</c:v>
                </c:pt>
                <c:pt idx="72">
                  <c:v>790.03150235618966</c:v>
                </c:pt>
                <c:pt idx="73">
                  <c:v>779.11260775957578</c:v>
                </c:pt>
                <c:pt idx="74">
                  <c:v>768.112630438304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4C9-4611-A8BC-039F8A68CC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D$2:$D$76</c:f>
              <c:numCache>
                <c:formatCode>General</c:formatCode>
                <c:ptCount val="75"/>
                <c:pt idx="12">
                  <c:v>886.53598024468897</c:v>
                </c:pt>
                <c:pt idx="13">
                  <c:v>889.70519986228567</c:v>
                </c:pt>
                <c:pt idx="14">
                  <c:v>897.48307707780134</c:v>
                </c:pt>
                <c:pt idx="15">
                  <c:v>900.63274662266645</c:v>
                </c:pt>
                <c:pt idx="16">
                  <c:v>899.25059783012989</c:v>
                </c:pt>
                <c:pt idx="17">
                  <c:v>895.76362394769012</c:v>
                </c:pt>
                <c:pt idx="18">
                  <c:v>889.25317404849113</c:v>
                </c:pt>
                <c:pt idx="19">
                  <c:v>879.87977915138595</c:v>
                </c:pt>
                <c:pt idx="20">
                  <c:v>870.02149191658589</c:v>
                </c:pt>
                <c:pt idx="21">
                  <c:v>859.50202570993656</c:v>
                </c:pt>
                <c:pt idx="22">
                  <c:v>848.09586777205345</c:v>
                </c:pt>
                <c:pt idx="23">
                  <c:v>836.21604940969485</c:v>
                </c:pt>
                <c:pt idx="24">
                  <c:v>823.70120536568209</c:v>
                </c:pt>
                <c:pt idx="25">
                  <c:v>810.7298290780459</c:v>
                </c:pt>
                <c:pt idx="26">
                  <c:v>797.52804595655027</c:v>
                </c:pt>
                <c:pt idx="27">
                  <c:v>784.05040891034901</c:v>
                </c:pt>
                <c:pt idx="28">
                  <c:v>770.4852744743248</c:v>
                </c:pt>
                <c:pt idx="29">
                  <c:v>756.84006309214533</c:v>
                </c:pt>
                <c:pt idx="30">
                  <c:v>743.05103383035396</c:v>
                </c:pt>
                <c:pt idx="31">
                  <c:v>729.10152800244373</c:v>
                </c:pt>
                <c:pt idx="32">
                  <c:v>715.12557829041543</c:v>
                </c:pt>
                <c:pt idx="33">
                  <c:v>701.23587272319787</c:v>
                </c:pt>
                <c:pt idx="34">
                  <c:v>687.32545179337842</c:v>
                </c:pt>
                <c:pt idx="35">
                  <c:v>673.55776395800638</c:v>
                </c:pt>
                <c:pt idx="36">
                  <c:v>659.98335085010012</c:v>
                </c:pt>
                <c:pt idx="37">
                  <c:v>646.4238221396555</c:v>
                </c:pt>
                <c:pt idx="38">
                  <c:v>632.89248771973212</c:v>
                </c:pt>
                <c:pt idx="39">
                  <c:v>619.46595402471928</c:v>
                </c:pt>
                <c:pt idx="40">
                  <c:v>606.17545573889299</c:v>
                </c:pt>
                <c:pt idx="41">
                  <c:v>593.02670966076641</c:v>
                </c:pt>
                <c:pt idx="42">
                  <c:v>580.0355032856545</c:v>
                </c:pt>
                <c:pt idx="43">
                  <c:v>567.21686546682884</c:v>
                </c:pt>
                <c:pt idx="44">
                  <c:v>554.56523189395193</c:v>
                </c:pt>
                <c:pt idx="45">
                  <c:v>542.08702995229476</c:v>
                </c:pt>
                <c:pt idx="46">
                  <c:v>529.78741402886521</c:v>
                </c:pt>
                <c:pt idx="47">
                  <c:v>517.67059957375204</c:v>
                </c:pt>
                <c:pt idx="48">
                  <c:v>505.74005408257267</c:v>
                </c:pt>
                <c:pt idx="49">
                  <c:v>493.99861537977279</c:v>
                </c:pt>
                <c:pt idx="50">
                  <c:v>482.44857214832149</c:v>
                </c:pt>
                <c:pt idx="51">
                  <c:v>471.09172406265299</c:v>
                </c:pt>
                <c:pt idx="52">
                  <c:v>459.92943018459039</c:v>
                </c:pt>
                <c:pt idx="53">
                  <c:v>448.96264999677487</c:v>
                </c:pt>
                <c:pt idx="54">
                  <c:v>438.19197934429718</c:v>
                </c:pt>
                <c:pt idx="55">
                  <c:v>427.61768252322736</c:v>
                </c:pt>
                <c:pt idx="56">
                  <c:v>417.23972124487125</c:v>
                </c:pt>
                <c:pt idx="57">
                  <c:v>407.05778095080632</c:v>
                </c:pt>
                <c:pt idx="58">
                  <c:v>397.07129481847022</c:v>
                </c:pt>
                <c:pt idx="59">
                  <c:v>387.27946572585216</c:v>
                </c:pt>
                <c:pt idx="60">
                  <c:v>377.68128639509666</c:v>
                </c:pt>
                <c:pt idx="61">
                  <c:v>368.27555790507637</c:v>
                </c:pt>
                <c:pt idx="62">
                  <c:v>359.06090673758456</c:v>
                </c:pt>
                <c:pt idx="63">
                  <c:v>350.03580050195848</c:v>
                </c:pt>
                <c:pt idx="64">
                  <c:v>341.19856246556549</c:v>
                </c:pt>
                <c:pt idx="65">
                  <c:v>332.54738500247049</c:v>
                </c:pt>
                <c:pt idx="66">
                  <c:v>324.08034206007591</c:v>
                </c:pt>
                <c:pt idx="67">
                  <c:v>315.79540073053846</c:v>
                </c:pt>
                <c:pt idx="68">
                  <c:v>307.69043200520389</c:v>
                </c:pt>
                <c:pt idx="69">
                  <c:v>299.76322078033218</c:v>
                </c:pt>
                <c:pt idx="70">
                  <c:v>292.01147517493922</c:v>
                </c:pt>
                <c:pt idx="71">
                  <c:v>284.43283521516071</c:v>
                </c:pt>
                <c:pt idx="72">
                  <c:v>277.0248809330065</c:v>
                </c:pt>
                <c:pt idx="73">
                  <c:v>269.78513992306341</c:v>
                </c:pt>
                <c:pt idx="74">
                  <c:v>262.71109439546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4C9-4611-A8BC-039F8A68CC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37218278064565652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E$2:$E$76</c:f>
              <c:numCache>
                <c:formatCode>General</c:formatCode>
                <c:ptCount val="75"/>
                <c:pt idx="0">
                  <c:v>129</c:v>
                </c:pt>
                <c:pt idx="1">
                  <c:v>149</c:v>
                </c:pt>
                <c:pt idx="2">
                  <c:v>132</c:v>
                </c:pt>
                <c:pt idx="3">
                  <c:v>172</c:v>
                </c:pt>
                <c:pt idx="4">
                  <c:v>175</c:v>
                </c:pt>
                <c:pt idx="5">
                  <c:v>172</c:v>
                </c:pt>
                <c:pt idx="6">
                  <c:v>144</c:v>
                </c:pt>
                <c:pt idx="7">
                  <c:v>165</c:v>
                </c:pt>
                <c:pt idx="8">
                  <c:v>147</c:v>
                </c:pt>
                <c:pt idx="9">
                  <c:v>140</c:v>
                </c:pt>
                <c:pt idx="10">
                  <c:v>179</c:v>
                </c:pt>
                <c:pt idx="11">
                  <c:v>191</c:v>
                </c:pt>
                <c:pt idx="12">
                  <c:v>186</c:v>
                </c:pt>
                <c:pt idx="13">
                  <c:v>172</c:v>
                </c:pt>
                <c:pt idx="14">
                  <c:v>202</c:v>
                </c:pt>
                <c:pt idx="15">
                  <c:v>193</c:v>
                </c:pt>
                <c:pt idx="16">
                  <c:v>198</c:v>
                </c:pt>
                <c:pt idx="17">
                  <c:v>213</c:v>
                </c:pt>
                <c:pt idx="18">
                  <c:v>178</c:v>
                </c:pt>
                <c:pt idx="19">
                  <c:v>197</c:v>
                </c:pt>
                <c:pt idx="20">
                  <c:v>196</c:v>
                </c:pt>
                <c:pt idx="21">
                  <c:v>235</c:v>
                </c:pt>
                <c:pt idx="22">
                  <c:v>221</c:v>
                </c:pt>
                <c:pt idx="23">
                  <c:v>223</c:v>
                </c:pt>
                <c:pt idx="24">
                  <c:v>222</c:v>
                </c:pt>
                <c:pt idx="25">
                  <c:v>208</c:v>
                </c:pt>
                <c:pt idx="26">
                  <c:v>174</c:v>
                </c:pt>
                <c:pt idx="27">
                  <c:v>220</c:v>
                </c:pt>
                <c:pt idx="28">
                  <c:v>232</c:v>
                </c:pt>
                <c:pt idx="29">
                  <c:v>213</c:v>
                </c:pt>
                <c:pt idx="30">
                  <c:v>192</c:v>
                </c:pt>
                <c:pt idx="31">
                  <c:v>213</c:v>
                </c:pt>
                <c:pt idx="32">
                  <c:v>171</c:v>
                </c:pt>
                <c:pt idx="33">
                  <c:v>173</c:v>
                </c:pt>
                <c:pt idx="34">
                  <c:v>188</c:v>
                </c:pt>
                <c:pt idx="35">
                  <c:v>202</c:v>
                </c:pt>
                <c:pt idx="36">
                  <c:v>189</c:v>
                </c:pt>
                <c:pt idx="37">
                  <c:v>179</c:v>
                </c:pt>
                <c:pt idx="38">
                  <c:v>153</c:v>
                </c:pt>
                <c:pt idx="39">
                  <c:v>147</c:v>
                </c:pt>
                <c:pt idx="40">
                  <c:v>175</c:v>
                </c:pt>
                <c:pt idx="41">
                  <c:v>109</c:v>
                </c:pt>
                <c:pt idx="42">
                  <c:v>174</c:v>
                </c:pt>
                <c:pt idx="43">
                  <c:v>156</c:v>
                </c:pt>
                <c:pt idx="44">
                  <c:v>138</c:v>
                </c:pt>
                <c:pt idx="45">
                  <c:v>126</c:v>
                </c:pt>
                <c:pt idx="46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1D-4406-9B66-DD765674C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B$2:$B$76</c:f>
              <c:numCache>
                <c:formatCode>General</c:formatCode>
                <c:ptCount val="75"/>
                <c:pt idx="10">
                  <c:v>139.94574090016496</c:v>
                </c:pt>
                <c:pt idx="11">
                  <c:v>143.87094354087165</c:v>
                </c:pt>
                <c:pt idx="12">
                  <c:v>147.44935263882579</c:v>
                </c:pt>
                <c:pt idx="13">
                  <c:v>151.52958866320196</c:v>
                </c:pt>
                <c:pt idx="14">
                  <c:v>155.85295386642832</c:v>
                </c:pt>
                <c:pt idx="15">
                  <c:v>160.05190666814943</c:v>
                </c:pt>
                <c:pt idx="16">
                  <c:v>164.67279659842418</c:v>
                </c:pt>
                <c:pt idx="17">
                  <c:v>169.83533961292486</c:v>
                </c:pt>
                <c:pt idx="18">
                  <c:v>174.89085857339686</c:v>
                </c:pt>
                <c:pt idx="19">
                  <c:v>180.10281853713397</c:v>
                </c:pt>
                <c:pt idx="20">
                  <c:v>185.77329866271583</c:v>
                </c:pt>
                <c:pt idx="21">
                  <c:v>191.45504290225557</c:v>
                </c:pt>
                <c:pt idx="22">
                  <c:v>197.29138217643819</c:v>
                </c:pt>
                <c:pt idx="23">
                  <c:v>203.65588859456813</c:v>
                </c:pt>
                <c:pt idx="24">
                  <c:v>210.07497877422691</c:v>
                </c:pt>
                <c:pt idx="25">
                  <c:v>216.31573523621566</c:v>
                </c:pt>
                <c:pt idx="26">
                  <c:v>222.98520752450835</c:v>
                </c:pt>
                <c:pt idx="27">
                  <c:v>229.98657463963056</c:v>
                </c:pt>
                <c:pt idx="28">
                  <c:v>236.95458161995131</c:v>
                </c:pt>
                <c:pt idx="29">
                  <c:v>243.8623108158767</c:v>
                </c:pt>
                <c:pt idx="30">
                  <c:v>251.1884646547658</c:v>
                </c:pt>
                <c:pt idx="31">
                  <c:v>258.54009150110238</c:v>
                </c:pt>
                <c:pt idx="32">
                  <c:v>265.8092905832923</c:v>
                </c:pt>
                <c:pt idx="33">
                  <c:v>273.30672279285233</c:v>
                </c:pt>
                <c:pt idx="34">
                  <c:v>280.81773988980785</c:v>
                </c:pt>
                <c:pt idx="35">
                  <c:v>288.40212519538801</c:v>
                </c:pt>
                <c:pt idx="36">
                  <c:v>296.00757018675085</c:v>
                </c:pt>
                <c:pt idx="37">
                  <c:v>303.63905064620405</c:v>
                </c:pt>
                <c:pt idx="38">
                  <c:v>311.29868018619902</c:v>
                </c:pt>
                <c:pt idx="39">
                  <c:v>318.85415305611258</c:v>
                </c:pt>
                <c:pt idx="40">
                  <c:v>326.44371984703145</c:v>
                </c:pt>
                <c:pt idx="41">
                  <c:v>333.97135761511788</c:v>
                </c:pt>
                <c:pt idx="42">
                  <c:v>341.40293714133281</c:v>
                </c:pt>
                <c:pt idx="43">
                  <c:v>348.73583027511381</c:v>
                </c:pt>
                <c:pt idx="44">
                  <c:v>355.97164525550045</c:v>
                </c:pt>
                <c:pt idx="45">
                  <c:v>363.07681109708926</c:v>
                </c:pt>
                <c:pt idx="46">
                  <c:v>369.97964013129246</c:v>
                </c:pt>
                <c:pt idx="47">
                  <c:v>376.73026953773325</c:v>
                </c:pt>
                <c:pt idx="48">
                  <c:v>383.31820173617899</c:v>
                </c:pt>
                <c:pt idx="49">
                  <c:v>389.65190753653417</c:v>
                </c:pt>
                <c:pt idx="50">
                  <c:v>395.75518411482119</c:v>
                </c:pt>
                <c:pt idx="51">
                  <c:v>401.61143119340494</c:v>
                </c:pt>
                <c:pt idx="52">
                  <c:v>407.19176061363316</c:v>
                </c:pt>
                <c:pt idx="53">
                  <c:v>412.48051107285102</c:v>
                </c:pt>
                <c:pt idx="54">
                  <c:v>417.44513730451183</c:v>
                </c:pt>
                <c:pt idx="55">
                  <c:v>422.0820775889963</c:v>
                </c:pt>
                <c:pt idx="56">
                  <c:v>426.36684348330397</c:v>
                </c:pt>
                <c:pt idx="57">
                  <c:v>430.29691530647949</c:v>
                </c:pt>
                <c:pt idx="58">
                  <c:v>433.8602214381927</c:v>
                </c:pt>
                <c:pt idx="59">
                  <c:v>437.03518648415155</c:v>
                </c:pt>
                <c:pt idx="60">
                  <c:v>439.80274405183712</c:v>
                </c:pt>
                <c:pt idx="61">
                  <c:v>442.16272041254985</c:v>
                </c:pt>
                <c:pt idx="62">
                  <c:v>444.09836828705494</c:v>
                </c:pt>
                <c:pt idx="63">
                  <c:v>445.59948913201913</c:v>
                </c:pt>
                <c:pt idx="64">
                  <c:v>446.68038573321047</c:v>
                </c:pt>
                <c:pt idx="65">
                  <c:v>447.30719157633564</c:v>
                </c:pt>
                <c:pt idx="66">
                  <c:v>447.50464258332124</c:v>
                </c:pt>
                <c:pt idx="67">
                  <c:v>447.27690884050884</c:v>
                </c:pt>
                <c:pt idx="68">
                  <c:v>446.5921308722057</c:v>
                </c:pt>
                <c:pt idx="69">
                  <c:v>445.47086699324268</c:v>
                </c:pt>
                <c:pt idx="70">
                  <c:v>443.92137972137391</c:v>
                </c:pt>
                <c:pt idx="71">
                  <c:v>441.94292960849947</c:v>
                </c:pt>
                <c:pt idx="72">
                  <c:v>439.54187940304797</c:v>
                </c:pt>
                <c:pt idx="73">
                  <c:v>436.73211251149672</c:v>
                </c:pt>
                <c:pt idx="74">
                  <c:v>433.5223864798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E1D-4406-9B66-DD765674C3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C$2:$C$76</c:f>
              <c:numCache>
                <c:formatCode>General</c:formatCode>
                <c:ptCount val="75"/>
                <c:pt idx="10">
                  <c:v>139.94574090016496</c:v>
                </c:pt>
                <c:pt idx="11">
                  <c:v>143.87094354087165</c:v>
                </c:pt>
                <c:pt idx="12">
                  <c:v>147.37444863641431</c:v>
                </c:pt>
                <c:pt idx="13">
                  <c:v>151.19609691692162</c:v>
                </c:pt>
                <c:pt idx="14">
                  <c:v>155.01346929645371</c:v>
                </c:pt>
                <c:pt idx="15">
                  <c:v>158.40797438992342</c:v>
                </c:pt>
                <c:pt idx="16">
                  <c:v>161.89125302073444</c:v>
                </c:pt>
                <c:pt idx="17">
                  <c:v>165.56863452638362</c:v>
                </c:pt>
                <c:pt idx="18">
                  <c:v>168.77621308474841</c:v>
                </c:pt>
                <c:pt idx="19">
                  <c:v>171.76301309102797</c:v>
                </c:pt>
                <c:pt idx="20">
                  <c:v>174.83107552917127</c:v>
                </c:pt>
                <c:pt idx="21">
                  <c:v>177.53814856001776</c:v>
                </c:pt>
                <c:pt idx="22">
                  <c:v>180.0333163574258</c:v>
                </c:pt>
                <c:pt idx="23">
                  <c:v>182.69633194181097</c:v>
                </c:pt>
                <c:pt idx="24">
                  <c:v>185.06774528685662</c:v>
                </c:pt>
                <c:pt idx="25">
                  <c:v>186.92631295262626</c:v>
                </c:pt>
                <c:pt idx="26">
                  <c:v>188.89485858430714</c:v>
                </c:pt>
                <c:pt idx="27">
                  <c:v>190.89121464486925</c:v>
                </c:pt>
                <c:pt idx="28">
                  <c:v>192.5638514498666</c:v>
                </c:pt>
                <c:pt idx="29">
                  <c:v>193.90146082175335</c:v>
                </c:pt>
                <c:pt idx="30">
                  <c:v>195.4034714869581</c:v>
                </c:pt>
                <c:pt idx="31">
                  <c:v>196.69416293482689</c:v>
                </c:pt>
                <c:pt idx="32">
                  <c:v>197.68227144697335</c:v>
                </c:pt>
                <c:pt idx="33">
                  <c:v>198.69689158410105</c:v>
                </c:pt>
                <c:pt idx="34">
                  <c:v>199.54485283688442</c:v>
                </c:pt>
                <c:pt idx="35">
                  <c:v>200.30514898639396</c:v>
                </c:pt>
                <c:pt idx="36">
                  <c:v>200.94538938224045</c:v>
                </c:pt>
                <c:pt idx="37">
                  <c:v>201.49173238845196</c:v>
                </c:pt>
                <c:pt idx="38">
                  <c:v>201.96604976502454</c:v>
                </c:pt>
                <c:pt idx="39">
                  <c:v>202.25616333726086</c:v>
                </c:pt>
                <c:pt idx="40">
                  <c:v>202.52086744895041</c:v>
                </c:pt>
                <c:pt idx="41">
                  <c:v>202.68475220566111</c:v>
                </c:pt>
                <c:pt idx="42">
                  <c:v>202.7353263239024</c:v>
                </c:pt>
                <c:pt idx="43">
                  <c:v>202.69053109276348</c:v>
                </c:pt>
                <c:pt idx="44">
                  <c:v>202.57462827753918</c:v>
                </c:pt>
                <c:pt idx="45">
                  <c:v>202.37599865769411</c:v>
                </c:pt>
                <c:pt idx="46">
                  <c:v>202.04513912920387</c:v>
                </c:pt>
                <c:pt idx="47">
                  <c:v>201.65472138640089</c:v>
                </c:pt>
                <c:pt idx="48">
                  <c:v>201.21644402416254</c:v>
                </c:pt>
                <c:pt idx="49">
                  <c:v>200.66086071267335</c:v>
                </c:pt>
                <c:pt idx="50">
                  <c:v>200.03333041624018</c:v>
                </c:pt>
                <c:pt idx="51">
                  <c:v>199.33895384279236</c:v>
                </c:pt>
                <c:pt idx="52">
                  <c:v>198.56983958914773</c:v>
                </c:pt>
                <c:pt idx="53">
                  <c:v>197.73016991518634</c:v>
                </c:pt>
                <c:pt idx="54">
                  <c:v>196.80705166380466</c:v>
                </c:pt>
                <c:pt idx="55">
                  <c:v>195.81603350188959</c:v>
                </c:pt>
                <c:pt idx="56">
                  <c:v>194.75094190915306</c:v>
                </c:pt>
                <c:pt idx="57">
                  <c:v>193.62634814574696</c:v>
                </c:pt>
                <c:pt idx="58">
                  <c:v>192.44649502503688</c:v>
                </c:pt>
                <c:pt idx="59">
                  <c:v>191.20469303204828</c:v>
                </c:pt>
                <c:pt idx="60">
                  <c:v>189.89544526892468</c:v>
                </c:pt>
                <c:pt idx="61">
                  <c:v>188.53097149345371</c:v>
                </c:pt>
                <c:pt idx="62">
                  <c:v>187.10544636163186</c:v>
                </c:pt>
                <c:pt idx="63">
                  <c:v>185.61769626024665</c:v>
                </c:pt>
                <c:pt idx="64">
                  <c:v>184.08972529870852</c:v>
                </c:pt>
                <c:pt idx="65">
                  <c:v>182.49397345143788</c:v>
                </c:pt>
                <c:pt idx="66">
                  <c:v>180.85978933973658</c:v>
                </c:pt>
                <c:pt idx="67">
                  <c:v>179.19424815701785</c:v>
                </c:pt>
                <c:pt idx="68">
                  <c:v>177.46670104219359</c:v>
                </c:pt>
                <c:pt idx="69">
                  <c:v>175.69706585414073</c:v>
                </c:pt>
                <c:pt idx="70">
                  <c:v>173.89154463067797</c:v>
                </c:pt>
                <c:pt idx="71">
                  <c:v>172.04573180129159</c:v>
                </c:pt>
                <c:pt idx="72">
                  <c:v>170.16037590039542</c:v>
                </c:pt>
                <c:pt idx="73">
                  <c:v>168.24267769204005</c:v>
                </c:pt>
                <c:pt idx="74">
                  <c:v>166.293271076682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E1D-4406-9B66-DD765674C3D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D$2:$D$76</c:f>
              <c:numCache>
                <c:formatCode>General</c:formatCode>
                <c:ptCount val="75"/>
                <c:pt idx="10">
                  <c:v>139.94574090016496</c:v>
                </c:pt>
                <c:pt idx="11">
                  <c:v>143.87094354087165</c:v>
                </c:pt>
                <c:pt idx="12">
                  <c:v>147.31701736660472</c:v>
                </c:pt>
                <c:pt idx="13">
                  <c:v>150.94036130240164</c:v>
                </c:pt>
                <c:pt idx="14">
                  <c:v>154.37135883816268</c:v>
                </c:pt>
                <c:pt idx="15">
                  <c:v>157.15727903136585</c:v>
                </c:pt>
                <c:pt idx="16">
                  <c:v>159.79117040382317</c:v>
                </c:pt>
                <c:pt idx="17">
                  <c:v>162.37782698503375</c:v>
                </c:pt>
                <c:pt idx="18">
                  <c:v>164.25391006173891</c:v>
                </c:pt>
                <c:pt idx="19">
                  <c:v>165.67045549176825</c:v>
                </c:pt>
                <c:pt idx="20">
                  <c:v>166.9429234369795</c:v>
                </c:pt>
                <c:pt idx="21">
                  <c:v>167.64643470725807</c:v>
                </c:pt>
                <c:pt idx="22">
                  <c:v>167.947611084903</c:v>
                </c:pt>
                <c:pt idx="23">
                  <c:v>168.2432872286908</c:v>
                </c:pt>
                <c:pt idx="24">
                  <c:v>168.09620622893559</c:v>
                </c:pt>
                <c:pt idx="25">
                  <c:v>167.30434762417516</c:v>
                </c:pt>
                <c:pt idx="26">
                  <c:v>166.51159068832828</c:v>
                </c:pt>
                <c:pt idx="27">
                  <c:v>165.65461792097398</c:v>
                </c:pt>
                <c:pt idx="28">
                  <c:v>164.39859619434003</c:v>
                </c:pt>
                <c:pt idx="29">
                  <c:v>162.7489177861421</c:v>
                </c:pt>
                <c:pt idx="30">
                  <c:v>161.224241594646</c:v>
                </c:pt>
                <c:pt idx="31">
                  <c:v>159.46400961047925</c:v>
                </c:pt>
                <c:pt idx="32">
                  <c:v>157.39018304448004</c:v>
                </c:pt>
                <c:pt idx="33">
                  <c:v>155.34504148399947</c:v>
                </c:pt>
                <c:pt idx="34">
                  <c:v>153.14959369034557</c:v>
                </c:pt>
                <c:pt idx="35">
                  <c:v>150.89396363883466</c:v>
                </c:pt>
                <c:pt idx="36">
                  <c:v>148.55609727159401</c:v>
                </c:pt>
                <c:pt idx="37">
                  <c:v>146.17220127621493</c:v>
                </c:pt>
                <c:pt idx="38">
                  <c:v>143.77190690932184</c:v>
                </c:pt>
                <c:pt idx="39">
                  <c:v>141.24992249182552</c:v>
                </c:pt>
                <c:pt idx="40">
                  <c:v>138.77118861876428</c:v>
                </c:pt>
                <c:pt idx="41">
                  <c:v>136.26551957899773</c:v>
                </c:pt>
                <c:pt idx="42">
                  <c:v>133.72553689019071</c:v>
                </c:pt>
                <c:pt idx="43">
                  <c:v>131.17266341527468</c:v>
                </c:pt>
                <c:pt idx="44">
                  <c:v>128.63549505217043</c:v>
                </c:pt>
                <c:pt idx="45">
                  <c:v>126.10557319550514</c:v>
                </c:pt>
                <c:pt idx="46">
                  <c:v>123.5361546364427</c:v>
                </c:pt>
                <c:pt idx="47">
                  <c:v>121.00245711293192</c:v>
                </c:pt>
                <c:pt idx="48">
                  <c:v>118.51807932528598</c:v>
                </c:pt>
                <c:pt idx="49">
                  <c:v>116.01509331210332</c:v>
                </c:pt>
                <c:pt idx="50">
                  <c:v>113.53978755178221</c:v>
                </c:pt>
                <c:pt idx="51">
                  <c:v>111.09821529041417</c:v>
                </c:pt>
                <c:pt idx="52">
                  <c:v>108.68292779672211</c:v>
                </c:pt>
                <c:pt idx="53">
                  <c:v>106.29779519713558</c:v>
                </c:pt>
                <c:pt idx="54">
                  <c:v>103.92970372717021</c:v>
                </c:pt>
                <c:pt idx="55">
                  <c:v>101.59392565223993</c:v>
                </c:pt>
                <c:pt idx="56">
                  <c:v>99.283860763393079</c:v>
                </c:pt>
                <c:pt idx="57">
                  <c:v>97.013267850070321</c:v>
                </c:pt>
                <c:pt idx="58">
                  <c:v>94.785625014484424</c:v>
                </c:pt>
                <c:pt idx="59">
                  <c:v>92.593119989129463</c:v>
                </c:pt>
                <c:pt idx="60">
                  <c:v>90.428940294606292</c:v>
                </c:pt>
                <c:pt idx="61">
                  <c:v>88.303986100012295</c:v>
                </c:pt>
                <c:pt idx="62">
                  <c:v>86.210955042343883</c:v>
                </c:pt>
                <c:pt idx="63">
                  <c:v>84.146771990811772</c:v>
                </c:pt>
                <c:pt idx="64">
                  <c:v>82.131607065589463</c:v>
                </c:pt>
                <c:pt idx="65">
                  <c:v>80.136131967527248</c:v>
                </c:pt>
                <c:pt idx="66">
                  <c:v>78.187796318601642</c:v>
                </c:pt>
                <c:pt idx="67">
                  <c:v>76.291653060028366</c:v>
                </c:pt>
                <c:pt idx="68">
                  <c:v>74.414929771677279</c:v>
                </c:pt>
                <c:pt idx="69">
                  <c:v>72.575202975370189</c:v>
                </c:pt>
                <c:pt idx="70">
                  <c:v>70.776439927691527</c:v>
                </c:pt>
                <c:pt idx="71">
                  <c:v>69.011952658084425</c:v>
                </c:pt>
                <c:pt idx="72">
                  <c:v>67.279867862998572</c:v>
                </c:pt>
                <c:pt idx="73">
                  <c:v>65.585062245100289</c:v>
                </c:pt>
                <c:pt idx="74">
                  <c:v>63.925822120553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E1D-4406-9B66-DD765674C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  <c:max val="45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37218278064565652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4:$A$196</c:f>
              <c:numCache>
                <c:formatCode>m/d/yyyy</c:formatCode>
                <c:ptCount val="133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2</c:v>
                </c:pt>
                <c:pt idx="6">
                  <c:v>44143</c:v>
                </c:pt>
                <c:pt idx="7">
                  <c:v>44144</c:v>
                </c:pt>
                <c:pt idx="8">
                  <c:v>44145</c:v>
                </c:pt>
                <c:pt idx="9">
                  <c:v>44146</c:v>
                </c:pt>
                <c:pt idx="10">
                  <c:v>44147</c:v>
                </c:pt>
                <c:pt idx="11">
                  <c:v>44148</c:v>
                </c:pt>
                <c:pt idx="12">
                  <c:v>44149</c:v>
                </c:pt>
                <c:pt idx="13">
                  <c:v>44150</c:v>
                </c:pt>
                <c:pt idx="14">
                  <c:v>44151</c:v>
                </c:pt>
                <c:pt idx="15">
                  <c:v>44152</c:v>
                </c:pt>
                <c:pt idx="16">
                  <c:v>44153</c:v>
                </c:pt>
                <c:pt idx="17">
                  <c:v>44154</c:v>
                </c:pt>
                <c:pt idx="18">
                  <c:v>44155</c:v>
                </c:pt>
                <c:pt idx="19">
                  <c:v>44156</c:v>
                </c:pt>
                <c:pt idx="20">
                  <c:v>44157</c:v>
                </c:pt>
                <c:pt idx="21">
                  <c:v>44158</c:v>
                </c:pt>
                <c:pt idx="22">
                  <c:v>44159</c:v>
                </c:pt>
                <c:pt idx="23">
                  <c:v>44160</c:v>
                </c:pt>
                <c:pt idx="24">
                  <c:v>44161</c:v>
                </c:pt>
                <c:pt idx="25">
                  <c:v>44162</c:v>
                </c:pt>
                <c:pt idx="26">
                  <c:v>44163</c:v>
                </c:pt>
                <c:pt idx="27">
                  <c:v>44164</c:v>
                </c:pt>
                <c:pt idx="28">
                  <c:v>44165</c:v>
                </c:pt>
                <c:pt idx="29">
                  <c:v>44166</c:v>
                </c:pt>
                <c:pt idx="30">
                  <c:v>44167</c:v>
                </c:pt>
                <c:pt idx="31">
                  <c:v>44168</c:v>
                </c:pt>
                <c:pt idx="32">
                  <c:v>44169</c:v>
                </c:pt>
                <c:pt idx="33">
                  <c:v>44170</c:v>
                </c:pt>
                <c:pt idx="34">
                  <c:v>44171</c:v>
                </c:pt>
                <c:pt idx="35">
                  <c:v>44172</c:v>
                </c:pt>
                <c:pt idx="36">
                  <c:v>44173</c:v>
                </c:pt>
                <c:pt idx="37">
                  <c:v>44174</c:v>
                </c:pt>
                <c:pt idx="38">
                  <c:v>44175</c:v>
                </c:pt>
                <c:pt idx="39">
                  <c:v>44176</c:v>
                </c:pt>
                <c:pt idx="40">
                  <c:v>44177</c:v>
                </c:pt>
                <c:pt idx="41">
                  <c:v>44178</c:v>
                </c:pt>
                <c:pt idx="42">
                  <c:v>44179</c:v>
                </c:pt>
                <c:pt idx="43">
                  <c:v>44180</c:v>
                </c:pt>
                <c:pt idx="44">
                  <c:v>44181</c:v>
                </c:pt>
                <c:pt idx="45">
                  <c:v>44182</c:v>
                </c:pt>
                <c:pt idx="46">
                  <c:v>44183</c:v>
                </c:pt>
                <c:pt idx="47">
                  <c:v>44184</c:v>
                </c:pt>
                <c:pt idx="48">
                  <c:v>44185</c:v>
                </c:pt>
                <c:pt idx="49">
                  <c:v>44186</c:v>
                </c:pt>
                <c:pt idx="50">
                  <c:v>44187</c:v>
                </c:pt>
                <c:pt idx="51">
                  <c:v>44188</c:v>
                </c:pt>
                <c:pt idx="52">
                  <c:v>44189</c:v>
                </c:pt>
                <c:pt idx="53">
                  <c:v>44190</c:v>
                </c:pt>
                <c:pt idx="54">
                  <c:v>44191</c:v>
                </c:pt>
                <c:pt idx="55">
                  <c:v>44192</c:v>
                </c:pt>
                <c:pt idx="56">
                  <c:v>44193</c:v>
                </c:pt>
                <c:pt idx="57">
                  <c:v>44194</c:v>
                </c:pt>
                <c:pt idx="58">
                  <c:v>44195</c:v>
                </c:pt>
                <c:pt idx="59">
                  <c:v>44196</c:v>
                </c:pt>
                <c:pt idx="60">
                  <c:v>44197</c:v>
                </c:pt>
                <c:pt idx="61">
                  <c:v>44198</c:v>
                </c:pt>
                <c:pt idx="62">
                  <c:v>44199</c:v>
                </c:pt>
                <c:pt idx="63">
                  <c:v>44200</c:v>
                </c:pt>
                <c:pt idx="64">
                  <c:v>44201</c:v>
                </c:pt>
                <c:pt idx="65">
                  <c:v>44202</c:v>
                </c:pt>
                <c:pt idx="66">
                  <c:v>44203</c:v>
                </c:pt>
                <c:pt idx="67">
                  <c:v>44204</c:v>
                </c:pt>
                <c:pt idx="68">
                  <c:v>44205</c:v>
                </c:pt>
                <c:pt idx="69">
                  <c:v>44206</c:v>
                </c:pt>
                <c:pt idx="70">
                  <c:v>44207</c:v>
                </c:pt>
                <c:pt idx="71">
                  <c:v>44208</c:v>
                </c:pt>
                <c:pt idx="72">
                  <c:v>44209</c:v>
                </c:pt>
                <c:pt idx="73">
                  <c:v>44210</c:v>
                </c:pt>
                <c:pt idx="74">
                  <c:v>44211</c:v>
                </c:pt>
                <c:pt idx="75">
                  <c:v>44212</c:v>
                </c:pt>
                <c:pt idx="76">
                  <c:v>44213</c:v>
                </c:pt>
                <c:pt idx="77">
                  <c:v>44214</c:v>
                </c:pt>
                <c:pt idx="78">
                  <c:v>44215</c:v>
                </c:pt>
                <c:pt idx="79">
                  <c:v>44216</c:v>
                </c:pt>
                <c:pt idx="80">
                  <c:v>44217</c:v>
                </c:pt>
                <c:pt idx="81">
                  <c:v>44218</c:v>
                </c:pt>
                <c:pt idx="82">
                  <c:v>44219</c:v>
                </c:pt>
                <c:pt idx="83">
                  <c:v>44220</c:v>
                </c:pt>
                <c:pt idx="84">
                  <c:v>44221</c:v>
                </c:pt>
                <c:pt idx="85">
                  <c:v>44222</c:v>
                </c:pt>
                <c:pt idx="86">
                  <c:v>44223</c:v>
                </c:pt>
                <c:pt idx="87">
                  <c:v>44224</c:v>
                </c:pt>
                <c:pt idx="88">
                  <c:v>44225</c:v>
                </c:pt>
                <c:pt idx="89">
                  <c:v>44226</c:v>
                </c:pt>
                <c:pt idx="90">
                  <c:v>44227</c:v>
                </c:pt>
                <c:pt idx="91">
                  <c:v>44228</c:v>
                </c:pt>
                <c:pt idx="92">
                  <c:v>44229</c:v>
                </c:pt>
                <c:pt idx="93">
                  <c:v>44230</c:v>
                </c:pt>
                <c:pt idx="94">
                  <c:v>44231</c:v>
                </c:pt>
                <c:pt idx="95">
                  <c:v>44232</c:v>
                </c:pt>
                <c:pt idx="96">
                  <c:v>44233</c:v>
                </c:pt>
                <c:pt idx="97">
                  <c:v>44234</c:v>
                </c:pt>
                <c:pt idx="98">
                  <c:v>44235</c:v>
                </c:pt>
                <c:pt idx="99">
                  <c:v>44236</c:v>
                </c:pt>
                <c:pt idx="100">
                  <c:v>44237</c:v>
                </c:pt>
                <c:pt idx="101">
                  <c:v>44238</c:v>
                </c:pt>
                <c:pt idx="102">
                  <c:v>44239</c:v>
                </c:pt>
                <c:pt idx="103">
                  <c:v>44240</c:v>
                </c:pt>
                <c:pt idx="104">
                  <c:v>44241</c:v>
                </c:pt>
                <c:pt idx="105">
                  <c:v>44242</c:v>
                </c:pt>
                <c:pt idx="106">
                  <c:v>44243</c:v>
                </c:pt>
                <c:pt idx="107">
                  <c:v>44244</c:v>
                </c:pt>
                <c:pt idx="108">
                  <c:v>44245</c:v>
                </c:pt>
                <c:pt idx="109">
                  <c:v>44246</c:v>
                </c:pt>
                <c:pt idx="110">
                  <c:v>44247</c:v>
                </c:pt>
                <c:pt idx="111">
                  <c:v>44248</c:v>
                </c:pt>
                <c:pt idx="112">
                  <c:v>44249</c:v>
                </c:pt>
                <c:pt idx="113">
                  <c:v>44250</c:v>
                </c:pt>
                <c:pt idx="114">
                  <c:v>44251</c:v>
                </c:pt>
                <c:pt idx="115">
                  <c:v>44252</c:v>
                </c:pt>
                <c:pt idx="116">
                  <c:v>44253</c:v>
                </c:pt>
                <c:pt idx="117">
                  <c:v>44254</c:v>
                </c:pt>
                <c:pt idx="118">
                  <c:v>44255</c:v>
                </c:pt>
                <c:pt idx="119">
                  <c:v>44256</c:v>
                </c:pt>
                <c:pt idx="120">
                  <c:v>44257</c:v>
                </c:pt>
                <c:pt idx="121">
                  <c:v>44258</c:v>
                </c:pt>
                <c:pt idx="122">
                  <c:v>44259</c:v>
                </c:pt>
                <c:pt idx="123">
                  <c:v>44260</c:v>
                </c:pt>
                <c:pt idx="124">
                  <c:v>44261</c:v>
                </c:pt>
                <c:pt idx="125">
                  <c:v>44262</c:v>
                </c:pt>
                <c:pt idx="126">
                  <c:v>44263</c:v>
                </c:pt>
                <c:pt idx="127">
                  <c:v>44264</c:v>
                </c:pt>
                <c:pt idx="128">
                  <c:v>44265</c:v>
                </c:pt>
                <c:pt idx="129">
                  <c:v>44266</c:v>
                </c:pt>
                <c:pt idx="130">
                  <c:v>44267</c:v>
                </c:pt>
                <c:pt idx="131">
                  <c:v>44268</c:v>
                </c:pt>
                <c:pt idx="132">
                  <c:v>44269</c:v>
                </c:pt>
              </c:numCache>
            </c:numRef>
          </c:cat>
          <c:val>
            <c:numRef>
              <c:f>Sheet1!$B$64:$B$196</c:f>
              <c:numCache>
                <c:formatCode>0</c:formatCode>
                <c:ptCount val="133"/>
                <c:pt idx="0">
                  <c:v>9239</c:v>
                </c:pt>
                <c:pt idx="1">
                  <c:v>12090</c:v>
                </c:pt>
                <c:pt idx="2">
                  <c:v>15725</c:v>
                </c:pt>
                <c:pt idx="3">
                  <c:v>13234</c:v>
                </c:pt>
                <c:pt idx="4">
                  <c:v>11546</c:v>
                </c:pt>
                <c:pt idx="5">
                  <c:v>7721</c:v>
                </c:pt>
                <c:pt idx="6">
                  <c:v>3609</c:v>
                </c:pt>
                <c:pt idx="7">
                  <c:v>6048</c:v>
                </c:pt>
                <c:pt idx="8">
                  <c:v>9056</c:v>
                </c:pt>
                <c:pt idx="9">
                  <c:v>8921</c:v>
                </c:pt>
                <c:pt idx="10">
                  <c:v>7874</c:v>
                </c:pt>
                <c:pt idx="11">
                  <c:v>7358</c:v>
                </c:pt>
                <c:pt idx="12">
                  <c:v>4196</c:v>
                </c:pt>
                <c:pt idx="13">
                  <c:v>1891</c:v>
                </c:pt>
                <c:pt idx="14">
                  <c:v>5414</c:v>
                </c:pt>
                <c:pt idx="15">
                  <c:v>4246</c:v>
                </c:pt>
                <c:pt idx="16">
                  <c:v>5514</c:v>
                </c:pt>
                <c:pt idx="17">
                  <c:v>6470</c:v>
                </c:pt>
                <c:pt idx="18">
                  <c:v>5808</c:v>
                </c:pt>
                <c:pt idx="19">
                  <c:v>3191</c:v>
                </c:pt>
                <c:pt idx="20">
                  <c:v>1509</c:v>
                </c:pt>
                <c:pt idx="21">
                  <c:v>4379</c:v>
                </c:pt>
                <c:pt idx="22">
                  <c:v>5861</c:v>
                </c:pt>
                <c:pt idx="23">
                  <c:v>4929</c:v>
                </c:pt>
                <c:pt idx="24">
                  <c:v>4049</c:v>
                </c:pt>
                <c:pt idx="25">
                  <c:v>4462</c:v>
                </c:pt>
                <c:pt idx="26">
                  <c:v>2667</c:v>
                </c:pt>
                <c:pt idx="27">
                  <c:v>1074</c:v>
                </c:pt>
                <c:pt idx="28">
                  <c:v>3572</c:v>
                </c:pt>
                <c:pt idx="29">
                  <c:v>5180</c:v>
                </c:pt>
                <c:pt idx="30">
                  <c:v>4561</c:v>
                </c:pt>
                <c:pt idx="31">
                  <c:v>4624</c:v>
                </c:pt>
                <c:pt idx="32">
                  <c:v>4747</c:v>
                </c:pt>
                <c:pt idx="33">
                  <c:v>3312</c:v>
                </c:pt>
                <c:pt idx="34">
                  <c:v>1112</c:v>
                </c:pt>
                <c:pt idx="35">
                  <c:v>4251</c:v>
                </c:pt>
                <c:pt idx="36">
                  <c:v>5855</c:v>
                </c:pt>
                <c:pt idx="37">
                  <c:v>6414</c:v>
                </c:pt>
                <c:pt idx="38">
                  <c:v>5872</c:v>
                </c:pt>
                <c:pt idx="39">
                  <c:v>6209</c:v>
                </c:pt>
                <c:pt idx="40">
                  <c:v>3655</c:v>
                </c:pt>
                <c:pt idx="41">
                  <c:v>1998</c:v>
                </c:pt>
                <c:pt idx="42">
                  <c:v>5176</c:v>
                </c:pt>
                <c:pt idx="43">
                  <c:v>7908</c:v>
                </c:pt>
                <c:pt idx="44">
                  <c:v>8256</c:v>
                </c:pt>
                <c:pt idx="45">
                  <c:v>7614</c:v>
                </c:pt>
                <c:pt idx="46">
                  <c:v>8836</c:v>
                </c:pt>
                <c:pt idx="47">
                  <c:v>5326</c:v>
                </c:pt>
                <c:pt idx="48">
                  <c:v>3403</c:v>
                </c:pt>
                <c:pt idx="49">
                  <c:v>7950</c:v>
                </c:pt>
                <c:pt idx="50">
                  <c:v>10910</c:v>
                </c:pt>
                <c:pt idx="51">
                  <c:v>14138</c:v>
                </c:pt>
                <c:pt idx="52">
                  <c:v>4373</c:v>
                </c:pt>
                <c:pt idx="53">
                  <c:v>2671</c:v>
                </c:pt>
                <c:pt idx="54">
                  <c:v>3031</c:v>
                </c:pt>
                <c:pt idx="55">
                  <c:v>3781</c:v>
                </c:pt>
                <c:pt idx="56">
                  <c:v>10935</c:v>
                </c:pt>
                <c:pt idx="57">
                  <c:v>16470</c:v>
                </c:pt>
                <c:pt idx="58">
                  <c:v>17059</c:v>
                </c:pt>
                <c:pt idx="59">
                  <c:v>13306</c:v>
                </c:pt>
                <c:pt idx="60">
                  <c:v>3446</c:v>
                </c:pt>
                <c:pt idx="61">
                  <c:v>4985</c:v>
                </c:pt>
                <c:pt idx="62">
                  <c:v>6267</c:v>
                </c:pt>
                <c:pt idx="63">
                  <c:v>12952</c:v>
                </c:pt>
                <c:pt idx="64">
                  <c:v>17397</c:v>
                </c:pt>
                <c:pt idx="65">
                  <c:v>17768</c:v>
                </c:pt>
                <c:pt idx="66">
                  <c:v>14880</c:v>
                </c:pt>
                <c:pt idx="67">
                  <c:v>13099</c:v>
                </c:pt>
                <c:pt idx="68">
                  <c:v>8436</c:v>
                </c:pt>
                <c:pt idx="69">
                  <c:v>4311</c:v>
                </c:pt>
                <c:pt idx="70">
                  <c:v>9383</c:v>
                </c:pt>
                <c:pt idx="71">
                  <c:v>10808</c:v>
                </c:pt>
                <c:pt idx="72">
                  <c:v>10915</c:v>
                </c:pt>
                <c:pt idx="73">
                  <c:v>8086</c:v>
                </c:pt>
                <c:pt idx="74">
                  <c:v>9299</c:v>
                </c:pt>
                <c:pt idx="75">
                  <c:v>5240</c:v>
                </c:pt>
                <c:pt idx="76">
                  <c:v>2641</c:v>
                </c:pt>
                <c:pt idx="77">
                  <c:v>7666</c:v>
                </c:pt>
                <c:pt idx="78">
                  <c:v>9608</c:v>
                </c:pt>
                <c:pt idx="79">
                  <c:v>8215</c:v>
                </c:pt>
                <c:pt idx="80">
                  <c:v>7532</c:v>
                </c:pt>
                <c:pt idx="81">
                  <c:v>8465</c:v>
                </c:pt>
                <c:pt idx="82">
                  <c:v>4239</c:v>
                </c:pt>
                <c:pt idx="83">
                  <c:v>2394</c:v>
                </c:pt>
                <c:pt idx="84">
                  <c:v>6973</c:v>
                </c:pt>
                <c:pt idx="85">
                  <c:v>9194</c:v>
                </c:pt>
                <c:pt idx="86">
                  <c:v>8502</c:v>
                </c:pt>
                <c:pt idx="87">
                  <c:v>8009</c:v>
                </c:pt>
                <c:pt idx="88">
                  <c:v>8052</c:v>
                </c:pt>
                <c:pt idx="89">
                  <c:v>4055</c:v>
                </c:pt>
                <c:pt idx="90">
                  <c:v>2573</c:v>
                </c:pt>
                <c:pt idx="91">
                  <c:v>7217</c:v>
                </c:pt>
                <c:pt idx="92">
                  <c:v>9148</c:v>
                </c:pt>
                <c:pt idx="93">
                  <c:v>9666</c:v>
                </c:pt>
                <c:pt idx="94">
                  <c:v>8106</c:v>
                </c:pt>
                <c:pt idx="95">
                  <c:v>8621</c:v>
                </c:pt>
                <c:pt idx="96">
                  <c:v>4820</c:v>
                </c:pt>
                <c:pt idx="97">
                  <c:v>2451</c:v>
                </c:pt>
                <c:pt idx="98">
                  <c:v>7779</c:v>
                </c:pt>
                <c:pt idx="99">
                  <c:v>10281</c:v>
                </c:pt>
                <c:pt idx="100">
                  <c:v>9537</c:v>
                </c:pt>
                <c:pt idx="101">
                  <c:v>9017</c:v>
                </c:pt>
                <c:pt idx="102">
                  <c:v>8827</c:v>
                </c:pt>
                <c:pt idx="103">
                  <c:v>5141</c:v>
                </c:pt>
                <c:pt idx="104">
                  <c:v>2879</c:v>
                </c:pt>
                <c:pt idx="105">
                  <c:v>8905</c:v>
                </c:pt>
                <c:pt idx="106">
                  <c:v>12608</c:v>
                </c:pt>
                <c:pt idx="107">
                  <c:v>10937</c:v>
                </c:pt>
                <c:pt idx="108">
                  <c:v>11701</c:v>
                </c:pt>
                <c:pt idx="109">
                  <c:v>11286</c:v>
                </c:pt>
                <c:pt idx="110">
                  <c:v>6775</c:v>
                </c:pt>
                <c:pt idx="111">
                  <c:v>4066</c:v>
                </c:pt>
                <c:pt idx="112">
                  <c:v>11403</c:v>
                </c:pt>
                <c:pt idx="113">
                  <c:v>15840</c:v>
                </c:pt>
                <c:pt idx="114">
                  <c:v>13794</c:v>
                </c:pt>
                <c:pt idx="115">
                  <c:v>14586</c:v>
                </c:pt>
                <c:pt idx="116">
                  <c:v>14775</c:v>
                </c:pt>
                <c:pt idx="117">
                  <c:v>7822</c:v>
                </c:pt>
                <c:pt idx="118">
                  <c:v>4586</c:v>
                </c:pt>
                <c:pt idx="119">
                  <c:v>12323</c:v>
                </c:pt>
                <c:pt idx="120">
                  <c:v>16775</c:v>
                </c:pt>
                <c:pt idx="121">
                  <c:v>15238</c:v>
                </c:pt>
                <c:pt idx="122">
                  <c:v>14642</c:v>
                </c:pt>
                <c:pt idx="123">
                  <c:v>13166</c:v>
                </c:pt>
                <c:pt idx="124">
                  <c:v>9121</c:v>
                </c:pt>
                <c:pt idx="125">
                  <c:v>3980</c:v>
                </c:pt>
                <c:pt idx="126">
                  <c:v>10640</c:v>
                </c:pt>
                <c:pt idx="127">
                  <c:v>15346</c:v>
                </c:pt>
                <c:pt idx="128">
                  <c:v>14539</c:v>
                </c:pt>
                <c:pt idx="129">
                  <c:v>11235</c:v>
                </c:pt>
                <c:pt idx="130">
                  <c:v>14967</c:v>
                </c:pt>
                <c:pt idx="131">
                  <c:v>6936</c:v>
                </c:pt>
                <c:pt idx="132">
                  <c:v>3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76-4ACA-A936-11C4032EDC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64:$A$196</c:f>
              <c:numCache>
                <c:formatCode>m/d/yyyy</c:formatCode>
                <c:ptCount val="133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2</c:v>
                </c:pt>
                <c:pt idx="6">
                  <c:v>44143</c:v>
                </c:pt>
                <c:pt idx="7">
                  <c:v>44144</c:v>
                </c:pt>
                <c:pt idx="8">
                  <c:v>44145</c:v>
                </c:pt>
                <c:pt idx="9">
                  <c:v>44146</c:v>
                </c:pt>
                <c:pt idx="10">
                  <c:v>44147</c:v>
                </c:pt>
                <c:pt idx="11">
                  <c:v>44148</c:v>
                </c:pt>
                <c:pt idx="12">
                  <c:v>44149</c:v>
                </c:pt>
                <c:pt idx="13">
                  <c:v>44150</c:v>
                </c:pt>
                <c:pt idx="14">
                  <c:v>44151</c:v>
                </c:pt>
                <c:pt idx="15">
                  <c:v>44152</c:v>
                </c:pt>
                <c:pt idx="16">
                  <c:v>44153</c:v>
                </c:pt>
                <c:pt idx="17">
                  <c:v>44154</c:v>
                </c:pt>
                <c:pt idx="18">
                  <c:v>44155</c:v>
                </c:pt>
                <c:pt idx="19">
                  <c:v>44156</c:v>
                </c:pt>
                <c:pt idx="20">
                  <c:v>44157</c:v>
                </c:pt>
                <c:pt idx="21">
                  <c:v>44158</c:v>
                </c:pt>
                <c:pt idx="22">
                  <c:v>44159</c:v>
                </c:pt>
                <c:pt idx="23">
                  <c:v>44160</c:v>
                </c:pt>
                <c:pt idx="24">
                  <c:v>44161</c:v>
                </c:pt>
                <c:pt idx="25">
                  <c:v>44162</c:v>
                </c:pt>
                <c:pt idx="26">
                  <c:v>44163</c:v>
                </c:pt>
                <c:pt idx="27">
                  <c:v>44164</c:v>
                </c:pt>
                <c:pt idx="28">
                  <c:v>44165</c:v>
                </c:pt>
                <c:pt idx="29">
                  <c:v>44166</c:v>
                </c:pt>
                <c:pt idx="30">
                  <c:v>44167</c:v>
                </c:pt>
                <c:pt idx="31">
                  <c:v>44168</c:v>
                </c:pt>
                <c:pt idx="32">
                  <c:v>44169</c:v>
                </c:pt>
                <c:pt idx="33">
                  <c:v>44170</c:v>
                </c:pt>
                <c:pt idx="34">
                  <c:v>44171</c:v>
                </c:pt>
                <c:pt idx="35">
                  <c:v>44172</c:v>
                </c:pt>
                <c:pt idx="36">
                  <c:v>44173</c:v>
                </c:pt>
                <c:pt idx="37">
                  <c:v>44174</c:v>
                </c:pt>
                <c:pt idx="38">
                  <c:v>44175</c:v>
                </c:pt>
                <c:pt idx="39">
                  <c:v>44176</c:v>
                </c:pt>
                <c:pt idx="40">
                  <c:v>44177</c:v>
                </c:pt>
                <c:pt idx="41">
                  <c:v>44178</c:v>
                </c:pt>
                <c:pt idx="42">
                  <c:v>44179</c:v>
                </c:pt>
                <c:pt idx="43">
                  <c:v>44180</c:v>
                </c:pt>
                <c:pt idx="44">
                  <c:v>44181</c:v>
                </c:pt>
                <c:pt idx="45">
                  <c:v>44182</c:v>
                </c:pt>
                <c:pt idx="46">
                  <c:v>44183</c:v>
                </c:pt>
                <c:pt idx="47">
                  <c:v>44184</c:v>
                </c:pt>
                <c:pt idx="48">
                  <c:v>44185</c:v>
                </c:pt>
                <c:pt idx="49">
                  <c:v>44186</c:v>
                </c:pt>
                <c:pt idx="50">
                  <c:v>44187</c:v>
                </c:pt>
                <c:pt idx="51">
                  <c:v>44188</c:v>
                </c:pt>
                <c:pt idx="52">
                  <c:v>44189</c:v>
                </c:pt>
                <c:pt idx="53">
                  <c:v>44190</c:v>
                </c:pt>
                <c:pt idx="54">
                  <c:v>44191</c:v>
                </c:pt>
                <c:pt idx="55">
                  <c:v>44192</c:v>
                </c:pt>
                <c:pt idx="56">
                  <c:v>44193</c:v>
                </c:pt>
                <c:pt idx="57">
                  <c:v>44194</c:v>
                </c:pt>
                <c:pt idx="58">
                  <c:v>44195</c:v>
                </c:pt>
                <c:pt idx="59">
                  <c:v>44196</c:v>
                </c:pt>
                <c:pt idx="60">
                  <c:v>44197</c:v>
                </c:pt>
                <c:pt idx="61">
                  <c:v>44198</c:v>
                </c:pt>
                <c:pt idx="62">
                  <c:v>44199</c:v>
                </c:pt>
                <c:pt idx="63">
                  <c:v>44200</c:v>
                </c:pt>
                <c:pt idx="64">
                  <c:v>44201</c:v>
                </c:pt>
                <c:pt idx="65">
                  <c:v>44202</c:v>
                </c:pt>
                <c:pt idx="66">
                  <c:v>44203</c:v>
                </c:pt>
                <c:pt idx="67">
                  <c:v>44204</c:v>
                </c:pt>
                <c:pt idx="68">
                  <c:v>44205</c:v>
                </c:pt>
                <c:pt idx="69">
                  <c:v>44206</c:v>
                </c:pt>
                <c:pt idx="70">
                  <c:v>44207</c:v>
                </c:pt>
                <c:pt idx="71">
                  <c:v>44208</c:v>
                </c:pt>
                <c:pt idx="72">
                  <c:v>44209</c:v>
                </c:pt>
                <c:pt idx="73">
                  <c:v>44210</c:v>
                </c:pt>
                <c:pt idx="74">
                  <c:v>44211</c:v>
                </c:pt>
                <c:pt idx="75">
                  <c:v>44212</c:v>
                </c:pt>
                <c:pt idx="76">
                  <c:v>44213</c:v>
                </c:pt>
                <c:pt idx="77">
                  <c:v>44214</c:v>
                </c:pt>
                <c:pt idx="78">
                  <c:v>44215</c:v>
                </c:pt>
                <c:pt idx="79">
                  <c:v>44216</c:v>
                </c:pt>
                <c:pt idx="80">
                  <c:v>44217</c:v>
                </c:pt>
                <c:pt idx="81">
                  <c:v>44218</c:v>
                </c:pt>
                <c:pt idx="82">
                  <c:v>44219</c:v>
                </c:pt>
                <c:pt idx="83">
                  <c:v>44220</c:v>
                </c:pt>
                <c:pt idx="84">
                  <c:v>44221</c:v>
                </c:pt>
                <c:pt idx="85">
                  <c:v>44222</c:v>
                </c:pt>
                <c:pt idx="86">
                  <c:v>44223</c:v>
                </c:pt>
                <c:pt idx="87">
                  <c:v>44224</c:v>
                </c:pt>
                <c:pt idx="88">
                  <c:v>44225</c:v>
                </c:pt>
                <c:pt idx="89">
                  <c:v>44226</c:v>
                </c:pt>
                <c:pt idx="90">
                  <c:v>44227</c:v>
                </c:pt>
                <c:pt idx="91">
                  <c:v>44228</c:v>
                </c:pt>
                <c:pt idx="92">
                  <c:v>44229</c:v>
                </c:pt>
                <c:pt idx="93">
                  <c:v>44230</c:v>
                </c:pt>
                <c:pt idx="94">
                  <c:v>44231</c:v>
                </c:pt>
                <c:pt idx="95">
                  <c:v>44232</c:v>
                </c:pt>
                <c:pt idx="96">
                  <c:v>44233</c:v>
                </c:pt>
                <c:pt idx="97">
                  <c:v>44234</c:v>
                </c:pt>
                <c:pt idx="98">
                  <c:v>44235</c:v>
                </c:pt>
                <c:pt idx="99">
                  <c:v>44236</c:v>
                </c:pt>
                <c:pt idx="100">
                  <c:v>44237</c:v>
                </c:pt>
                <c:pt idx="101">
                  <c:v>44238</c:v>
                </c:pt>
                <c:pt idx="102">
                  <c:v>44239</c:v>
                </c:pt>
                <c:pt idx="103">
                  <c:v>44240</c:v>
                </c:pt>
                <c:pt idx="104">
                  <c:v>44241</c:v>
                </c:pt>
                <c:pt idx="105">
                  <c:v>44242</c:v>
                </c:pt>
                <c:pt idx="106">
                  <c:v>44243</c:v>
                </c:pt>
                <c:pt idx="107">
                  <c:v>44244</c:v>
                </c:pt>
                <c:pt idx="108">
                  <c:v>44245</c:v>
                </c:pt>
                <c:pt idx="109">
                  <c:v>44246</c:v>
                </c:pt>
                <c:pt idx="110">
                  <c:v>44247</c:v>
                </c:pt>
                <c:pt idx="111">
                  <c:v>44248</c:v>
                </c:pt>
                <c:pt idx="112">
                  <c:v>44249</c:v>
                </c:pt>
                <c:pt idx="113">
                  <c:v>44250</c:v>
                </c:pt>
                <c:pt idx="114">
                  <c:v>44251</c:v>
                </c:pt>
                <c:pt idx="115">
                  <c:v>44252</c:v>
                </c:pt>
                <c:pt idx="116">
                  <c:v>44253</c:v>
                </c:pt>
                <c:pt idx="117">
                  <c:v>44254</c:v>
                </c:pt>
                <c:pt idx="118">
                  <c:v>44255</c:v>
                </c:pt>
                <c:pt idx="119">
                  <c:v>44256</c:v>
                </c:pt>
                <c:pt idx="120">
                  <c:v>44257</c:v>
                </c:pt>
                <c:pt idx="121">
                  <c:v>44258</c:v>
                </c:pt>
                <c:pt idx="122">
                  <c:v>44259</c:v>
                </c:pt>
                <c:pt idx="123">
                  <c:v>44260</c:v>
                </c:pt>
                <c:pt idx="124">
                  <c:v>44261</c:v>
                </c:pt>
                <c:pt idx="125">
                  <c:v>44262</c:v>
                </c:pt>
                <c:pt idx="126">
                  <c:v>44263</c:v>
                </c:pt>
                <c:pt idx="127">
                  <c:v>44264</c:v>
                </c:pt>
                <c:pt idx="128">
                  <c:v>44265</c:v>
                </c:pt>
                <c:pt idx="129">
                  <c:v>44266</c:v>
                </c:pt>
                <c:pt idx="130">
                  <c:v>44267</c:v>
                </c:pt>
                <c:pt idx="131">
                  <c:v>44268</c:v>
                </c:pt>
                <c:pt idx="132">
                  <c:v>44269</c:v>
                </c:pt>
              </c:numCache>
            </c:numRef>
          </c:cat>
          <c:val>
            <c:numRef>
              <c:f>Sheet1!$C$64:$C$196</c:f>
              <c:numCache>
                <c:formatCode>General</c:formatCode>
                <c:ptCount val="13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76-4ACA-A936-11C4032EDC5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1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64:$A$196</c:f>
              <c:numCache>
                <c:formatCode>m/d/yyyy</c:formatCode>
                <c:ptCount val="133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2</c:v>
                </c:pt>
                <c:pt idx="6">
                  <c:v>44143</c:v>
                </c:pt>
                <c:pt idx="7">
                  <c:v>44144</c:v>
                </c:pt>
                <c:pt idx="8">
                  <c:v>44145</c:v>
                </c:pt>
                <c:pt idx="9">
                  <c:v>44146</c:v>
                </c:pt>
                <c:pt idx="10">
                  <c:v>44147</c:v>
                </c:pt>
                <c:pt idx="11">
                  <c:v>44148</c:v>
                </c:pt>
                <c:pt idx="12">
                  <c:v>44149</c:v>
                </c:pt>
                <c:pt idx="13">
                  <c:v>44150</c:v>
                </c:pt>
                <c:pt idx="14">
                  <c:v>44151</c:v>
                </c:pt>
                <c:pt idx="15">
                  <c:v>44152</c:v>
                </c:pt>
                <c:pt idx="16">
                  <c:v>44153</c:v>
                </c:pt>
                <c:pt idx="17">
                  <c:v>44154</c:v>
                </c:pt>
                <c:pt idx="18">
                  <c:v>44155</c:v>
                </c:pt>
                <c:pt idx="19">
                  <c:v>44156</c:v>
                </c:pt>
                <c:pt idx="20">
                  <c:v>44157</c:v>
                </c:pt>
                <c:pt idx="21">
                  <c:v>44158</c:v>
                </c:pt>
                <c:pt idx="22">
                  <c:v>44159</c:v>
                </c:pt>
                <c:pt idx="23">
                  <c:v>44160</c:v>
                </c:pt>
                <c:pt idx="24">
                  <c:v>44161</c:v>
                </c:pt>
                <c:pt idx="25">
                  <c:v>44162</c:v>
                </c:pt>
                <c:pt idx="26">
                  <c:v>44163</c:v>
                </c:pt>
                <c:pt idx="27">
                  <c:v>44164</c:v>
                </c:pt>
                <c:pt idx="28">
                  <c:v>44165</c:v>
                </c:pt>
                <c:pt idx="29">
                  <c:v>44166</c:v>
                </c:pt>
                <c:pt idx="30">
                  <c:v>44167</c:v>
                </c:pt>
                <c:pt idx="31">
                  <c:v>44168</c:v>
                </c:pt>
                <c:pt idx="32">
                  <c:v>44169</c:v>
                </c:pt>
                <c:pt idx="33">
                  <c:v>44170</c:v>
                </c:pt>
                <c:pt idx="34">
                  <c:v>44171</c:v>
                </c:pt>
                <c:pt idx="35">
                  <c:v>44172</c:v>
                </c:pt>
                <c:pt idx="36">
                  <c:v>44173</c:v>
                </c:pt>
                <c:pt idx="37">
                  <c:v>44174</c:v>
                </c:pt>
                <c:pt idx="38">
                  <c:v>44175</c:v>
                </c:pt>
                <c:pt idx="39">
                  <c:v>44176</c:v>
                </c:pt>
                <c:pt idx="40">
                  <c:v>44177</c:v>
                </c:pt>
                <c:pt idx="41">
                  <c:v>44178</c:v>
                </c:pt>
                <c:pt idx="42">
                  <c:v>44179</c:v>
                </c:pt>
                <c:pt idx="43">
                  <c:v>44180</c:v>
                </c:pt>
                <c:pt idx="44">
                  <c:v>44181</c:v>
                </c:pt>
                <c:pt idx="45">
                  <c:v>44182</c:v>
                </c:pt>
                <c:pt idx="46">
                  <c:v>44183</c:v>
                </c:pt>
                <c:pt idx="47">
                  <c:v>44184</c:v>
                </c:pt>
                <c:pt idx="48">
                  <c:v>44185</c:v>
                </c:pt>
                <c:pt idx="49">
                  <c:v>44186</c:v>
                </c:pt>
                <c:pt idx="50">
                  <c:v>44187</c:v>
                </c:pt>
                <c:pt idx="51">
                  <c:v>44188</c:v>
                </c:pt>
                <c:pt idx="52">
                  <c:v>44189</c:v>
                </c:pt>
                <c:pt idx="53">
                  <c:v>44190</c:v>
                </c:pt>
                <c:pt idx="54">
                  <c:v>44191</c:v>
                </c:pt>
                <c:pt idx="55">
                  <c:v>44192</c:v>
                </c:pt>
                <c:pt idx="56">
                  <c:v>44193</c:v>
                </c:pt>
                <c:pt idx="57">
                  <c:v>44194</c:v>
                </c:pt>
                <c:pt idx="58">
                  <c:v>44195</c:v>
                </c:pt>
                <c:pt idx="59">
                  <c:v>44196</c:v>
                </c:pt>
                <c:pt idx="60">
                  <c:v>44197</c:v>
                </c:pt>
                <c:pt idx="61">
                  <c:v>44198</c:v>
                </c:pt>
                <c:pt idx="62">
                  <c:v>44199</c:v>
                </c:pt>
                <c:pt idx="63">
                  <c:v>44200</c:v>
                </c:pt>
                <c:pt idx="64">
                  <c:v>44201</c:v>
                </c:pt>
                <c:pt idx="65">
                  <c:v>44202</c:v>
                </c:pt>
                <c:pt idx="66">
                  <c:v>44203</c:v>
                </c:pt>
                <c:pt idx="67">
                  <c:v>44204</c:v>
                </c:pt>
                <c:pt idx="68">
                  <c:v>44205</c:v>
                </c:pt>
                <c:pt idx="69">
                  <c:v>44206</c:v>
                </c:pt>
                <c:pt idx="70">
                  <c:v>44207</c:v>
                </c:pt>
                <c:pt idx="71">
                  <c:v>44208</c:v>
                </c:pt>
                <c:pt idx="72">
                  <c:v>44209</c:v>
                </c:pt>
                <c:pt idx="73">
                  <c:v>44210</c:v>
                </c:pt>
                <c:pt idx="74">
                  <c:v>44211</c:v>
                </c:pt>
                <c:pt idx="75">
                  <c:v>44212</c:v>
                </c:pt>
                <c:pt idx="76">
                  <c:v>44213</c:v>
                </c:pt>
                <c:pt idx="77">
                  <c:v>44214</c:v>
                </c:pt>
                <c:pt idx="78">
                  <c:v>44215</c:v>
                </c:pt>
                <c:pt idx="79">
                  <c:v>44216</c:v>
                </c:pt>
                <c:pt idx="80">
                  <c:v>44217</c:v>
                </c:pt>
                <c:pt idx="81">
                  <c:v>44218</c:v>
                </c:pt>
                <c:pt idx="82">
                  <c:v>44219</c:v>
                </c:pt>
                <c:pt idx="83">
                  <c:v>44220</c:v>
                </c:pt>
                <c:pt idx="84">
                  <c:v>44221</c:v>
                </c:pt>
                <c:pt idx="85">
                  <c:v>44222</c:v>
                </c:pt>
                <c:pt idx="86">
                  <c:v>44223</c:v>
                </c:pt>
                <c:pt idx="87">
                  <c:v>44224</c:v>
                </c:pt>
                <c:pt idx="88">
                  <c:v>44225</c:v>
                </c:pt>
                <c:pt idx="89">
                  <c:v>44226</c:v>
                </c:pt>
                <c:pt idx="90">
                  <c:v>44227</c:v>
                </c:pt>
                <c:pt idx="91">
                  <c:v>44228</c:v>
                </c:pt>
                <c:pt idx="92">
                  <c:v>44229</c:v>
                </c:pt>
                <c:pt idx="93">
                  <c:v>44230</c:v>
                </c:pt>
                <c:pt idx="94">
                  <c:v>44231</c:v>
                </c:pt>
                <c:pt idx="95">
                  <c:v>44232</c:v>
                </c:pt>
                <c:pt idx="96">
                  <c:v>44233</c:v>
                </c:pt>
                <c:pt idx="97">
                  <c:v>44234</c:v>
                </c:pt>
                <c:pt idx="98">
                  <c:v>44235</c:v>
                </c:pt>
                <c:pt idx="99">
                  <c:v>44236</c:v>
                </c:pt>
                <c:pt idx="100">
                  <c:v>44237</c:v>
                </c:pt>
                <c:pt idx="101">
                  <c:v>44238</c:v>
                </c:pt>
                <c:pt idx="102">
                  <c:v>44239</c:v>
                </c:pt>
                <c:pt idx="103">
                  <c:v>44240</c:v>
                </c:pt>
                <c:pt idx="104">
                  <c:v>44241</c:v>
                </c:pt>
                <c:pt idx="105">
                  <c:v>44242</c:v>
                </c:pt>
                <c:pt idx="106">
                  <c:v>44243</c:v>
                </c:pt>
                <c:pt idx="107">
                  <c:v>44244</c:v>
                </c:pt>
                <c:pt idx="108">
                  <c:v>44245</c:v>
                </c:pt>
                <c:pt idx="109">
                  <c:v>44246</c:v>
                </c:pt>
                <c:pt idx="110">
                  <c:v>44247</c:v>
                </c:pt>
                <c:pt idx="111">
                  <c:v>44248</c:v>
                </c:pt>
                <c:pt idx="112">
                  <c:v>44249</c:v>
                </c:pt>
                <c:pt idx="113">
                  <c:v>44250</c:v>
                </c:pt>
                <c:pt idx="114">
                  <c:v>44251</c:v>
                </c:pt>
                <c:pt idx="115">
                  <c:v>44252</c:v>
                </c:pt>
                <c:pt idx="116">
                  <c:v>44253</c:v>
                </c:pt>
                <c:pt idx="117">
                  <c:v>44254</c:v>
                </c:pt>
                <c:pt idx="118">
                  <c:v>44255</c:v>
                </c:pt>
                <c:pt idx="119">
                  <c:v>44256</c:v>
                </c:pt>
                <c:pt idx="120">
                  <c:v>44257</c:v>
                </c:pt>
                <c:pt idx="121">
                  <c:v>44258</c:v>
                </c:pt>
                <c:pt idx="122">
                  <c:v>44259</c:v>
                </c:pt>
                <c:pt idx="123">
                  <c:v>44260</c:v>
                </c:pt>
                <c:pt idx="124">
                  <c:v>44261</c:v>
                </c:pt>
                <c:pt idx="125">
                  <c:v>44262</c:v>
                </c:pt>
                <c:pt idx="126">
                  <c:v>44263</c:v>
                </c:pt>
                <c:pt idx="127">
                  <c:v>44264</c:v>
                </c:pt>
                <c:pt idx="128">
                  <c:v>44265</c:v>
                </c:pt>
                <c:pt idx="129">
                  <c:v>44266</c:v>
                </c:pt>
                <c:pt idx="130">
                  <c:v>44267</c:v>
                </c:pt>
                <c:pt idx="131">
                  <c:v>44268</c:v>
                </c:pt>
                <c:pt idx="132">
                  <c:v>44269</c:v>
                </c:pt>
              </c:numCache>
            </c:numRef>
          </c:cat>
          <c:val>
            <c:numRef>
              <c:f>Sheet1!$E$64:$E$196</c:f>
              <c:numCache>
                <c:formatCode>General</c:formatCode>
                <c:ptCount val="133"/>
                <c:pt idx="109">
                  <c:v>10601</c:v>
                </c:pt>
                <c:pt idx="110">
                  <c:v>10853</c:v>
                </c:pt>
                <c:pt idx="111">
                  <c:v>11069</c:v>
                </c:pt>
                <c:pt idx="112">
                  <c:v>11263</c:v>
                </c:pt>
                <c:pt idx="113">
                  <c:v>11439</c:v>
                </c:pt>
                <c:pt idx="114">
                  <c:v>11636</c:v>
                </c:pt>
                <c:pt idx="115">
                  <c:v>11846</c:v>
                </c:pt>
                <c:pt idx="116">
                  <c:v>12069</c:v>
                </c:pt>
                <c:pt idx="117">
                  <c:v>12303</c:v>
                </c:pt>
                <c:pt idx="118">
                  <c:v>12520</c:v>
                </c:pt>
                <c:pt idx="119">
                  <c:v>12735</c:v>
                </c:pt>
                <c:pt idx="120">
                  <c:v>12957</c:v>
                </c:pt>
                <c:pt idx="121">
                  <c:v>13196</c:v>
                </c:pt>
                <c:pt idx="122">
                  <c:v>13439</c:v>
                </c:pt>
                <c:pt idx="123">
                  <c:v>13683</c:v>
                </c:pt>
                <c:pt idx="124">
                  <c:v>13928</c:v>
                </c:pt>
                <c:pt idx="125">
                  <c:v>14173</c:v>
                </c:pt>
                <c:pt idx="126">
                  <c:v>14426</c:v>
                </c:pt>
                <c:pt idx="127">
                  <c:v>14687</c:v>
                </c:pt>
                <c:pt idx="128">
                  <c:v>14953</c:v>
                </c:pt>
                <c:pt idx="129">
                  <c:v>15222</c:v>
                </c:pt>
                <c:pt idx="130">
                  <c:v>15494</c:v>
                </c:pt>
                <c:pt idx="131">
                  <c:v>15770</c:v>
                </c:pt>
                <c:pt idx="132">
                  <c:v>16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76-4ACA-A936-11C4032EDC5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2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64:$A$196</c:f>
              <c:numCache>
                <c:formatCode>m/d/yyyy</c:formatCode>
                <c:ptCount val="133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2</c:v>
                </c:pt>
                <c:pt idx="6">
                  <c:v>44143</c:v>
                </c:pt>
                <c:pt idx="7">
                  <c:v>44144</c:v>
                </c:pt>
                <c:pt idx="8">
                  <c:v>44145</c:v>
                </c:pt>
                <c:pt idx="9">
                  <c:v>44146</c:v>
                </c:pt>
                <c:pt idx="10">
                  <c:v>44147</c:v>
                </c:pt>
                <c:pt idx="11">
                  <c:v>44148</c:v>
                </c:pt>
                <c:pt idx="12">
                  <c:v>44149</c:v>
                </c:pt>
                <c:pt idx="13">
                  <c:v>44150</c:v>
                </c:pt>
                <c:pt idx="14">
                  <c:v>44151</c:v>
                </c:pt>
                <c:pt idx="15">
                  <c:v>44152</c:v>
                </c:pt>
                <c:pt idx="16">
                  <c:v>44153</c:v>
                </c:pt>
                <c:pt idx="17">
                  <c:v>44154</c:v>
                </c:pt>
                <c:pt idx="18">
                  <c:v>44155</c:v>
                </c:pt>
                <c:pt idx="19">
                  <c:v>44156</c:v>
                </c:pt>
                <c:pt idx="20">
                  <c:v>44157</c:v>
                </c:pt>
                <c:pt idx="21">
                  <c:v>44158</c:v>
                </c:pt>
                <c:pt idx="22">
                  <c:v>44159</c:v>
                </c:pt>
                <c:pt idx="23">
                  <c:v>44160</c:v>
                </c:pt>
                <c:pt idx="24">
                  <c:v>44161</c:v>
                </c:pt>
                <c:pt idx="25">
                  <c:v>44162</c:v>
                </c:pt>
                <c:pt idx="26">
                  <c:v>44163</c:v>
                </c:pt>
                <c:pt idx="27">
                  <c:v>44164</c:v>
                </c:pt>
                <c:pt idx="28">
                  <c:v>44165</c:v>
                </c:pt>
                <c:pt idx="29">
                  <c:v>44166</c:v>
                </c:pt>
                <c:pt idx="30">
                  <c:v>44167</c:v>
                </c:pt>
                <c:pt idx="31">
                  <c:v>44168</c:v>
                </c:pt>
                <c:pt idx="32">
                  <c:v>44169</c:v>
                </c:pt>
                <c:pt idx="33">
                  <c:v>44170</c:v>
                </c:pt>
                <c:pt idx="34">
                  <c:v>44171</c:v>
                </c:pt>
                <c:pt idx="35">
                  <c:v>44172</c:v>
                </c:pt>
                <c:pt idx="36">
                  <c:v>44173</c:v>
                </c:pt>
                <c:pt idx="37">
                  <c:v>44174</c:v>
                </c:pt>
                <c:pt idx="38">
                  <c:v>44175</c:v>
                </c:pt>
                <c:pt idx="39">
                  <c:v>44176</c:v>
                </c:pt>
                <c:pt idx="40">
                  <c:v>44177</c:v>
                </c:pt>
                <c:pt idx="41">
                  <c:v>44178</c:v>
                </c:pt>
                <c:pt idx="42">
                  <c:v>44179</c:v>
                </c:pt>
                <c:pt idx="43">
                  <c:v>44180</c:v>
                </c:pt>
                <c:pt idx="44">
                  <c:v>44181</c:v>
                </c:pt>
                <c:pt idx="45">
                  <c:v>44182</c:v>
                </c:pt>
                <c:pt idx="46">
                  <c:v>44183</c:v>
                </c:pt>
                <c:pt idx="47">
                  <c:v>44184</c:v>
                </c:pt>
                <c:pt idx="48">
                  <c:v>44185</c:v>
                </c:pt>
                <c:pt idx="49">
                  <c:v>44186</c:v>
                </c:pt>
                <c:pt idx="50">
                  <c:v>44187</c:v>
                </c:pt>
                <c:pt idx="51">
                  <c:v>44188</c:v>
                </c:pt>
                <c:pt idx="52">
                  <c:v>44189</c:v>
                </c:pt>
                <c:pt idx="53">
                  <c:v>44190</c:v>
                </c:pt>
                <c:pt idx="54">
                  <c:v>44191</c:v>
                </c:pt>
                <c:pt idx="55">
                  <c:v>44192</c:v>
                </c:pt>
                <c:pt idx="56">
                  <c:v>44193</c:v>
                </c:pt>
                <c:pt idx="57">
                  <c:v>44194</c:v>
                </c:pt>
                <c:pt idx="58">
                  <c:v>44195</c:v>
                </c:pt>
                <c:pt idx="59">
                  <c:v>44196</c:v>
                </c:pt>
                <c:pt idx="60">
                  <c:v>44197</c:v>
                </c:pt>
                <c:pt idx="61">
                  <c:v>44198</c:v>
                </c:pt>
                <c:pt idx="62">
                  <c:v>44199</c:v>
                </c:pt>
                <c:pt idx="63">
                  <c:v>44200</c:v>
                </c:pt>
                <c:pt idx="64">
                  <c:v>44201</c:v>
                </c:pt>
                <c:pt idx="65">
                  <c:v>44202</c:v>
                </c:pt>
                <c:pt idx="66">
                  <c:v>44203</c:v>
                </c:pt>
                <c:pt idx="67">
                  <c:v>44204</c:v>
                </c:pt>
                <c:pt idx="68">
                  <c:v>44205</c:v>
                </c:pt>
                <c:pt idx="69">
                  <c:v>44206</c:v>
                </c:pt>
                <c:pt idx="70">
                  <c:v>44207</c:v>
                </c:pt>
                <c:pt idx="71">
                  <c:v>44208</c:v>
                </c:pt>
                <c:pt idx="72">
                  <c:v>44209</c:v>
                </c:pt>
                <c:pt idx="73">
                  <c:v>44210</c:v>
                </c:pt>
                <c:pt idx="74">
                  <c:v>44211</c:v>
                </c:pt>
                <c:pt idx="75">
                  <c:v>44212</c:v>
                </c:pt>
                <c:pt idx="76">
                  <c:v>44213</c:v>
                </c:pt>
                <c:pt idx="77">
                  <c:v>44214</c:v>
                </c:pt>
                <c:pt idx="78">
                  <c:v>44215</c:v>
                </c:pt>
                <c:pt idx="79">
                  <c:v>44216</c:v>
                </c:pt>
                <c:pt idx="80">
                  <c:v>44217</c:v>
                </c:pt>
                <c:pt idx="81">
                  <c:v>44218</c:v>
                </c:pt>
                <c:pt idx="82">
                  <c:v>44219</c:v>
                </c:pt>
                <c:pt idx="83">
                  <c:v>44220</c:v>
                </c:pt>
                <c:pt idx="84">
                  <c:v>44221</c:v>
                </c:pt>
                <c:pt idx="85">
                  <c:v>44222</c:v>
                </c:pt>
                <c:pt idx="86">
                  <c:v>44223</c:v>
                </c:pt>
                <c:pt idx="87">
                  <c:v>44224</c:v>
                </c:pt>
                <c:pt idx="88">
                  <c:v>44225</c:v>
                </c:pt>
                <c:pt idx="89">
                  <c:v>44226</c:v>
                </c:pt>
                <c:pt idx="90">
                  <c:v>44227</c:v>
                </c:pt>
                <c:pt idx="91">
                  <c:v>44228</c:v>
                </c:pt>
                <c:pt idx="92">
                  <c:v>44229</c:v>
                </c:pt>
                <c:pt idx="93">
                  <c:v>44230</c:v>
                </c:pt>
                <c:pt idx="94">
                  <c:v>44231</c:v>
                </c:pt>
                <c:pt idx="95">
                  <c:v>44232</c:v>
                </c:pt>
                <c:pt idx="96">
                  <c:v>44233</c:v>
                </c:pt>
                <c:pt idx="97">
                  <c:v>44234</c:v>
                </c:pt>
                <c:pt idx="98">
                  <c:v>44235</c:v>
                </c:pt>
                <c:pt idx="99">
                  <c:v>44236</c:v>
                </c:pt>
                <c:pt idx="100">
                  <c:v>44237</c:v>
                </c:pt>
                <c:pt idx="101">
                  <c:v>44238</c:v>
                </c:pt>
                <c:pt idx="102">
                  <c:v>44239</c:v>
                </c:pt>
                <c:pt idx="103">
                  <c:v>44240</c:v>
                </c:pt>
                <c:pt idx="104">
                  <c:v>44241</c:v>
                </c:pt>
                <c:pt idx="105">
                  <c:v>44242</c:v>
                </c:pt>
                <c:pt idx="106">
                  <c:v>44243</c:v>
                </c:pt>
                <c:pt idx="107">
                  <c:v>44244</c:v>
                </c:pt>
                <c:pt idx="108">
                  <c:v>44245</c:v>
                </c:pt>
                <c:pt idx="109">
                  <c:v>44246</c:v>
                </c:pt>
                <c:pt idx="110">
                  <c:v>44247</c:v>
                </c:pt>
                <c:pt idx="111">
                  <c:v>44248</c:v>
                </c:pt>
                <c:pt idx="112">
                  <c:v>44249</c:v>
                </c:pt>
                <c:pt idx="113">
                  <c:v>44250</c:v>
                </c:pt>
                <c:pt idx="114">
                  <c:v>44251</c:v>
                </c:pt>
                <c:pt idx="115">
                  <c:v>44252</c:v>
                </c:pt>
                <c:pt idx="116">
                  <c:v>44253</c:v>
                </c:pt>
                <c:pt idx="117">
                  <c:v>44254</c:v>
                </c:pt>
                <c:pt idx="118">
                  <c:v>44255</c:v>
                </c:pt>
                <c:pt idx="119">
                  <c:v>44256</c:v>
                </c:pt>
                <c:pt idx="120">
                  <c:v>44257</c:v>
                </c:pt>
                <c:pt idx="121">
                  <c:v>44258</c:v>
                </c:pt>
                <c:pt idx="122">
                  <c:v>44259</c:v>
                </c:pt>
                <c:pt idx="123">
                  <c:v>44260</c:v>
                </c:pt>
                <c:pt idx="124">
                  <c:v>44261</c:v>
                </c:pt>
                <c:pt idx="125">
                  <c:v>44262</c:v>
                </c:pt>
                <c:pt idx="126">
                  <c:v>44263</c:v>
                </c:pt>
                <c:pt idx="127">
                  <c:v>44264</c:v>
                </c:pt>
                <c:pt idx="128">
                  <c:v>44265</c:v>
                </c:pt>
                <c:pt idx="129">
                  <c:v>44266</c:v>
                </c:pt>
                <c:pt idx="130">
                  <c:v>44267</c:v>
                </c:pt>
                <c:pt idx="131">
                  <c:v>44268</c:v>
                </c:pt>
                <c:pt idx="132">
                  <c:v>44269</c:v>
                </c:pt>
              </c:numCache>
            </c:numRef>
          </c:cat>
          <c:val>
            <c:numRef>
              <c:f>Sheet1!$F$64:$F$196</c:f>
              <c:numCache>
                <c:formatCode>General</c:formatCode>
                <c:ptCount val="133"/>
                <c:pt idx="109">
                  <c:v>10601</c:v>
                </c:pt>
                <c:pt idx="110">
                  <c:v>11265</c:v>
                </c:pt>
                <c:pt idx="111">
                  <c:v>11731</c:v>
                </c:pt>
                <c:pt idx="112">
                  <c:v>12080</c:v>
                </c:pt>
                <c:pt idx="113">
                  <c:v>12356</c:v>
                </c:pt>
                <c:pt idx="114">
                  <c:v>12742</c:v>
                </c:pt>
                <c:pt idx="115">
                  <c:v>13200</c:v>
                </c:pt>
                <c:pt idx="116">
                  <c:v>13705</c:v>
                </c:pt>
                <c:pt idx="117">
                  <c:v>14246</c:v>
                </c:pt>
                <c:pt idx="118">
                  <c:v>14697</c:v>
                </c:pt>
                <c:pt idx="119">
                  <c:v>15142</c:v>
                </c:pt>
                <c:pt idx="120">
                  <c:v>15633</c:v>
                </c:pt>
                <c:pt idx="121">
                  <c:v>16201</c:v>
                </c:pt>
                <c:pt idx="122">
                  <c:v>16789</c:v>
                </c:pt>
                <c:pt idx="123">
                  <c:v>17372</c:v>
                </c:pt>
                <c:pt idx="124">
                  <c:v>17951</c:v>
                </c:pt>
                <c:pt idx="125">
                  <c:v>18538</c:v>
                </c:pt>
                <c:pt idx="126">
                  <c:v>19165</c:v>
                </c:pt>
                <c:pt idx="127">
                  <c:v>19835</c:v>
                </c:pt>
                <c:pt idx="128">
                  <c:v>20530</c:v>
                </c:pt>
                <c:pt idx="129">
                  <c:v>21230</c:v>
                </c:pt>
                <c:pt idx="130">
                  <c:v>21944</c:v>
                </c:pt>
                <c:pt idx="131">
                  <c:v>22682</c:v>
                </c:pt>
                <c:pt idx="132">
                  <c:v>234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76-4ACA-A936-11C4032EDC5D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64:$A$196</c:f>
              <c:numCache>
                <c:formatCode>m/d/yyyy</c:formatCode>
                <c:ptCount val="133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2</c:v>
                </c:pt>
                <c:pt idx="6">
                  <c:v>44143</c:v>
                </c:pt>
                <c:pt idx="7">
                  <c:v>44144</c:v>
                </c:pt>
                <c:pt idx="8">
                  <c:v>44145</c:v>
                </c:pt>
                <c:pt idx="9">
                  <c:v>44146</c:v>
                </c:pt>
                <c:pt idx="10">
                  <c:v>44147</c:v>
                </c:pt>
                <c:pt idx="11">
                  <c:v>44148</c:v>
                </c:pt>
                <c:pt idx="12">
                  <c:v>44149</c:v>
                </c:pt>
                <c:pt idx="13">
                  <c:v>44150</c:v>
                </c:pt>
                <c:pt idx="14">
                  <c:v>44151</c:v>
                </c:pt>
                <c:pt idx="15">
                  <c:v>44152</c:v>
                </c:pt>
                <c:pt idx="16">
                  <c:v>44153</c:v>
                </c:pt>
                <c:pt idx="17">
                  <c:v>44154</c:v>
                </c:pt>
                <c:pt idx="18">
                  <c:v>44155</c:v>
                </c:pt>
                <c:pt idx="19">
                  <c:v>44156</c:v>
                </c:pt>
                <c:pt idx="20">
                  <c:v>44157</c:v>
                </c:pt>
                <c:pt idx="21">
                  <c:v>44158</c:v>
                </c:pt>
                <c:pt idx="22">
                  <c:v>44159</c:v>
                </c:pt>
                <c:pt idx="23">
                  <c:v>44160</c:v>
                </c:pt>
                <c:pt idx="24">
                  <c:v>44161</c:v>
                </c:pt>
                <c:pt idx="25">
                  <c:v>44162</c:v>
                </c:pt>
                <c:pt idx="26">
                  <c:v>44163</c:v>
                </c:pt>
                <c:pt idx="27">
                  <c:v>44164</c:v>
                </c:pt>
                <c:pt idx="28">
                  <c:v>44165</c:v>
                </c:pt>
                <c:pt idx="29">
                  <c:v>44166</c:v>
                </c:pt>
                <c:pt idx="30">
                  <c:v>44167</c:v>
                </c:pt>
                <c:pt idx="31">
                  <c:v>44168</c:v>
                </c:pt>
                <c:pt idx="32">
                  <c:v>44169</c:v>
                </c:pt>
                <c:pt idx="33">
                  <c:v>44170</c:v>
                </c:pt>
                <c:pt idx="34">
                  <c:v>44171</c:v>
                </c:pt>
                <c:pt idx="35">
                  <c:v>44172</c:v>
                </c:pt>
                <c:pt idx="36">
                  <c:v>44173</c:v>
                </c:pt>
                <c:pt idx="37">
                  <c:v>44174</c:v>
                </c:pt>
                <c:pt idx="38">
                  <c:v>44175</c:v>
                </c:pt>
                <c:pt idx="39">
                  <c:v>44176</c:v>
                </c:pt>
                <c:pt idx="40">
                  <c:v>44177</c:v>
                </c:pt>
                <c:pt idx="41">
                  <c:v>44178</c:v>
                </c:pt>
                <c:pt idx="42">
                  <c:v>44179</c:v>
                </c:pt>
                <c:pt idx="43">
                  <c:v>44180</c:v>
                </c:pt>
                <c:pt idx="44">
                  <c:v>44181</c:v>
                </c:pt>
                <c:pt idx="45">
                  <c:v>44182</c:v>
                </c:pt>
                <c:pt idx="46">
                  <c:v>44183</c:v>
                </c:pt>
                <c:pt idx="47">
                  <c:v>44184</c:v>
                </c:pt>
                <c:pt idx="48">
                  <c:v>44185</c:v>
                </c:pt>
                <c:pt idx="49">
                  <c:v>44186</c:v>
                </c:pt>
                <c:pt idx="50">
                  <c:v>44187</c:v>
                </c:pt>
                <c:pt idx="51">
                  <c:v>44188</c:v>
                </c:pt>
                <c:pt idx="52">
                  <c:v>44189</c:v>
                </c:pt>
                <c:pt idx="53">
                  <c:v>44190</c:v>
                </c:pt>
                <c:pt idx="54">
                  <c:v>44191</c:v>
                </c:pt>
                <c:pt idx="55">
                  <c:v>44192</c:v>
                </c:pt>
                <c:pt idx="56">
                  <c:v>44193</c:v>
                </c:pt>
                <c:pt idx="57">
                  <c:v>44194</c:v>
                </c:pt>
                <c:pt idx="58">
                  <c:v>44195</c:v>
                </c:pt>
                <c:pt idx="59">
                  <c:v>44196</c:v>
                </c:pt>
                <c:pt idx="60">
                  <c:v>44197</c:v>
                </c:pt>
                <c:pt idx="61">
                  <c:v>44198</c:v>
                </c:pt>
                <c:pt idx="62">
                  <c:v>44199</c:v>
                </c:pt>
                <c:pt idx="63">
                  <c:v>44200</c:v>
                </c:pt>
                <c:pt idx="64">
                  <c:v>44201</c:v>
                </c:pt>
                <c:pt idx="65">
                  <c:v>44202</c:v>
                </c:pt>
                <c:pt idx="66">
                  <c:v>44203</c:v>
                </c:pt>
                <c:pt idx="67">
                  <c:v>44204</c:v>
                </c:pt>
                <c:pt idx="68">
                  <c:v>44205</c:v>
                </c:pt>
                <c:pt idx="69">
                  <c:v>44206</c:v>
                </c:pt>
                <c:pt idx="70">
                  <c:v>44207</c:v>
                </c:pt>
                <c:pt idx="71">
                  <c:v>44208</c:v>
                </c:pt>
                <c:pt idx="72">
                  <c:v>44209</c:v>
                </c:pt>
                <c:pt idx="73">
                  <c:v>44210</c:v>
                </c:pt>
                <c:pt idx="74">
                  <c:v>44211</c:v>
                </c:pt>
                <c:pt idx="75">
                  <c:v>44212</c:v>
                </c:pt>
                <c:pt idx="76">
                  <c:v>44213</c:v>
                </c:pt>
                <c:pt idx="77">
                  <c:v>44214</c:v>
                </c:pt>
                <c:pt idx="78">
                  <c:v>44215</c:v>
                </c:pt>
                <c:pt idx="79">
                  <c:v>44216</c:v>
                </c:pt>
                <c:pt idx="80">
                  <c:v>44217</c:v>
                </c:pt>
                <c:pt idx="81">
                  <c:v>44218</c:v>
                </c:pt>
                <c:pt idx="82">
                  <c:v>44219</c:v>
                </c:pt>
                <c:pt idx="83">
                  <c:v>44220</c:v>
                </c:pt>
                <c:pt idx="84">
                  <c:v>44221</c:v>
                </c:pt>
                <c:pt idx="85">
                  <c:v>44222</c:v>
                </c:pt>
                <c:pt idx="86">
                  <c:v>44223</c:v>
                </c:pt>
                <c:pt idx="87">
                  <c:v>44224</c:v>
                </c:pt>
                <c:pt idx="88">
                  <c:v>44225</c:v>
                </c:pt>
                <c:pt idx="89">
                  <c:v>44226</c:v>
                </c:pt>
                <c:pt idx="90">
                  <c:v>44227</c:v>
                </c:pt>
                <c:pt idx="91">
                  <c:v>44228</c:v>
                </c:pt>
                <c:pt idx="92">
                  <c:v>44229</c:v>
                </c:pt>
                <c:pt idx="93">
                  <c:v>44230</c:v>
                </c:pt>
                <c:pt idx="94">
                  <c:v>44231</c:v>
                </c:pt>
                <c:pt idx="95">
                  <c:v>44232</c:v>
                </c:pt>
                <c:pt idx="96">
                  <c:v>44233</c:v>
                </c:pt>
                <c:pt idx="97">
                  <c:v>44234</c:v>
                </c:pt>
                <c:pt idx="98">
                  <c:v>44235</c:v>
                </c:pt>
                <c:pt idx="99">
                  <c:v>44236</c:v>
                </c:pt>
                <c:pt idx="100">
                  <c:v>44237</c:v>
                </c:pt>
                <c:pt idx="101">
                  <c:v>44238</c:v>
                </c:pt>
                <c:pt idx="102">
                  <c:v>44239</c:v>
                </c:pt>
                <c:pt idx="103">
                  <c:v>44240</c:v>
                </c:pt>
                <c:pt idx="104">
                  <c:v>44241</c:v>
                </c:pt>
                <c:pt idx="105">
                  <c:v>44242</c:v>
                </c:pt>
                <c:pt idx="106">
                  <c:v>44243</c:v>
                </c:pt>
                <c:pt idx="107">
                  <c:v>44244</c:v>
                </c:pt>
                <c:pt idx="108">
                  <c:v>44245</c:v>
                </c:pt>
                <c:pt idx="109">
                  <c:v>44246</c:v>
                </c:pt>
                <c:pt idx="110">
                  <c:v>44247</c:v>
                </c:pt>
                <c:pt idx="111">
                  <c:v>44248</c:v>
                </c:pt>
                <c:pt idx="112">
                  <c:v>44249</c:v>
                </c:pt>
                <c:pt idx="113">
                  <c:v>44250</c:v>
                </c:pt>
                <c:pt idx="114">
                  <c:v>44251</c:v>
                </c:pt>
                <c:pt idx="115">
                  <c:v>44252</c:v>
                </c:pt>
                <c:pt idx="116">
                  <c:v>44253</c:v>
                </c:pt>
                <c:pt idx="117">
                  <c:v>44254</c:v>
                </c:pt>
                <c:pt idx="118">
                  <c:v>44255</c:v>
                </c:pt>
                <c:pt idx="119">
                  <c:v>44256</c:v>
                </c:pt>
                <c:pt idx="120">
                  <c:v>44257</c:v>
                </c:pt>
                <c:pt idx="121">
                  <c:v>44258</c:v>
                </c:pt>
                <c:pt idx="122">
                  <c:v>44259</c:v>
                </c:pt>
                <c:pt idx="123">
                  <c:v>44260</c:v>
                </c:pt>
                <c:pt idx="124">
                  <c:v>44261</c:v>
                </c:pt>
                <c:pt idx="125">
                  <c:v>44262</c:v>
                </c:pt>
                <c:pt idx="126">
                  <c:v>44263</c:v>
                </c:pt>
                <c:pt idx="127">
                  <c:v>44264</c:v>
                </c:pt>
                <c:pt idx="128">
                  <c:v>44265</c:v>
                </c:pt>
                <c:pt idx="129">
                  <c:v>44266</c:v>
                </c:pt>
                <c:pt idx="130">
                  <c:v>44267</c:v>
                </c:pt>
                <c:pt idx="131">
                  <c:v>44268</c:v>
                </c:pt>
                <c:pt idx="132">
                  <c:v>44269</c:v>
                </c:pt>
              </c:numCache>
            </c:numRef>
          </c:cat>
          <c:val>
            <c:numRef>
              <c:f>Sheet1!$G$64:$G$196</c:f>
              <c:numCache>
                <c:formatCode>General</c:formatCode>
                <c:ptCount val="133"/>
                <c:pt idx="109">
                  <c:v>10601</c:v>
                </c:pt>
                <c:pt idx="110">
                  <c:v>11676</c:v>
                </c:pt>
                <c:pt idx="111">
                  <c:v>12394</c:v>
                </c:pt>
                <c:pt idx="112">
                  <c:v>12898</c:v>
                </c:pt>
                <c:pt idx="113">
                  <c:v>13271</c:v>
                </c:pt>
                <c:pt idx="114">
                  <c:v>13869</c:v>
                </c:pt>
                <c:pt idx="115">
                  <c:v>14607</c:v>
                </c:pt>
                <c:pt idx="116">
                  <c:v>15437</c:v>
                </c:pt>
                <c:pt idx="117">
                  <c:v>16328</c:v>
                </c:pt>
                <c:pt idx="118">
                  <c:v>17056</c:v>
                </c:pt>
                <c:pt idx="119">
                  <c:v>17783</c:v>
                </c:pt>
                <c:pt idx="120">
                  <c:v>18613</c:v>
                </c:pt>
                <c:pt idx="121">
                  <c:v>19610</c:v>
                </c:pt>
                <c:pt idx="122">
                  <c:v>20647</c:v>
                </c:pt>
                <c:pt idx="123">
                  <c:v>21681</c:v>
                </c:pt>
                <c:pt idx="124">
                  <c:v>22713</c:v>
                </c:pt>
                <c:pt idx="125">
                  <c:v>23781</c:v>
                </c:pt>
                <c:pt idx="126">
                  <c:v>24948</c:v>
                </c:pt>
                <c:pt idx="127">
                  <c:v>26215</c:v>
                </c:pt>
                <c:pt idx="128">
                  <c:v>27547</c:v>
                </c:pt>
                <c:pt idx="129">
                  <c:v>28903</c:v>
                </c:pt>
                <c:pt idx="130">
                  <c:v>30301</c:v>
                </c:pt>
                <c:pt idx="131">
                  <c:v>31775</c:v>
                </c:pt>
                <c:pt idx="132">
                  <c:v>33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976-4ACA-A936-11C4032EDC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51231934911546E-2"/>
          <c:y val="0.13807894736842105"/>
          <c:w val="0.91692139603581668"/>
          <c:h val="0.657744883040935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1</c:f>
              <c:numCache>
                <c:formatCode>m/d/yyyy</c:formatCode>
                <c:ptCount val="120"/>
                <c:pt idx="0">
                  <c:v>44171</c:v>
                </c:pt>
                <c:pt idx="1">
                  <c:v>44172</c:v>
                </c:pt>
                <c:pt idx="2">
                  <c:v>44173</c:v>
                </c:pt>
                <c:pt idx="3">
                  <c:v>44174</c:v>
                </c:pt>
                <c:pt idx="4">
                  <c:v>44175</c:v>
                </c:pt>
                <c:pt idx="5">
                  <c:v>44176</c:v>
                </c:pt>
                <c:pt idx="6">
                  <c:v>44177</c:v>
                </c:pt>
                <c:pt idx="7">
                  <c:v>44178</c:v>
                </c:pt>
                <c:pt idx="8">
                  <c:v>44179</c:v>
                </c:pt>
                <c:pt idx="9">
                  <c:v>44180</c:v>
                </c:pt>
                <c:pt idx="10">
                  <c:v>44181</c:v>
                </c:pt>
                <c:pt idx="11">
                  <c:v>44182</c:v>
                </c:pt>
                <c:pt idx="12">
                  <c:v>44183</c:v>
                </c:pt>
                <c:pt idx="13">
                  <c:v>44184</c:v>
                </c:pt>
                <c:pt idx="14">
                  <c:v>44185</c:v>
                </c:pt>
                <c:pt idx="15">
                  <c:v>44186</c:v>
                </c:pt>
                <c:pt idx="16">
                  <c:v>44187</c:v>
                </c:pt>
                <c:pt idx="17">
                  <c:v>44188</c:v>
                </c:pt>
                <c:pt idx="18">
                  <c:v>44189</c:v>
                </c:pt>
                <c:pt idx="19">
                  <c:v>44190</c:v>
                </c:pt>
                <c:pt idx="20">
                  <c:v>44191</c:v>
                </c:pt>
                <c:pt idx="21">
                  <c:v>44192</c:v>
                </c:pt>
                <c:pt idx="22">
                  <c:v>44193</c:v>
                </c:pt>
                <c:pt idx="23">
                  <c:v>44194</c:v>
                </c:pt>
                <c:pt idx="24">
                  <c:v>44195</c:v>
                </c:pt>
                <c:pt idx="25">
                  <c:v>44196</c:v>
                </c:pt>
                <c:pt idx="26">
                  <c:v>44197</c:v>
                </c:pt>
                <c:pt idx="27">
                  <c:v>44198</c:v>
                </c:pt>
                <c:pt idx="28">
                  <c:v>44199</c:v>
                </c:pt>
                <c:pt idx="29">
                  <c:v>44200</c:v>
                </c:pt>
                <c:pt idx="30">
                  <c:v>44201</c:v>
                </c:pt>
                <c:pt idx="31">
                  <c:v>44202</c:v>
                </c:pt>
                <c:pt idx="32">
                  <c:v>44203</c:v>
                </c:pt>
                <c:pt idx="33">
                  <c:v>44204</c:v>
                </c:pt>
                <c:pt idx="34">
                  <c:v>44205</c:v>
                </c:pt>
                <c:pt idx="35">
                  <c:v>44206</c:v>
                </c:pt>
                <c:pt idx="36">
                  <c:v>44207</c:v>
                </c:pt>
                <c:pt idx="37">
                  <c:v>44208</c:v>
                </c:pt>
                <c:pt idx="38">
                  <c:v>44209</c:v>
                </c:pt>
                <c:pt idx="39">
                  <c:v>44210</c:v>
                </c:pt>
                <c:pt idx="40">
                  <c:v>44211</c:v>
                </c:pt>
                <c:pt idx="41">
                  <c:v>44212</c:v>
                </c:pt>
                <c:pt idx="42">
                  <c:v>44213</c:v>
                </c:pt>
                <c:pt idx="43">
                  <c:v>44214</c:v>
                </c:pt>
                <c:pt idx="44">
                  <c:v>44215</c:v>
                </c:pt>
                <c:pt idx="45">
                  <c:v>44216</c:v>
                </c:pt>
                <c:pt idx="46">
                  <c:v>44217</c:v>
                </c:pt>
                <c:pt idx="47">
                  <c:v>44218</c:v>
                </c:pt>
                <c:pt idx="48">
                  <c:v>44219</c:v>
                </c:pt>
                <c:pt idx="49">
                  <c:v>44220</c:v>
                </c:pt>
                <c:pt idx="50">
                  <c:v>44221</c:v>
                </c:pt>
                <c:pt idx="51">
                  <c:v>44222</c:v>
                </c:pt>
                <c:pt idx="52">
                  <c:v>44223</c:v>
                </c:pt>
                <c:pt idx="53">
                  <c:v>44224</c:v>
                </c:pt>
                <c:pt idx="54">
                  <c:v>44225</c:v>
                </c:pt>
                <c:pt idx="55">
                  <c:v>44226</c:v>
                </c:pt>
                <c:pt idx="56">
                  <c:v>44227</c:v>
                </c:pt>
                <c:pt idx="57">
                  <c:v>44228</c:v>
                </c:pt>
                <c:pt idx="58">
                  <c:v>44229</c:v>
                </c:pt>
                <c:pt idx="59">
                  <c:v>44230</c:v>
                </c:pt>
                <c:pt idx="60">
                  <c:v>44231</c:v>
                </c:pt>
                <c:pt idx="61">
                  <c:v>44232</c:v>
                </c:pt>
                <c:pt idx="62">
                  <c:v>44233</c:v>
                </c:pt>
                <c:pt idx="63">
                  <c:v>44234</c:v>
                </c:pt>
                <c:pt idx="64">
                  <c:v>44235</c:v>
                </c:pt>
                <c:pt idx="65">
                  <c:v>44236</c:v>
                </c:pt>
                <c:pt idx="66">
                  <c:v>44237</c:v>
                </c:pt>
                <c:pt idx="67">
                  <c:v>44238</c:v>
                </c:pt>
                <c:pt idx="68">
                  <c:v>44239</c:v>
                </c:pt>
                <c:pt idx="69">
                  <c:v>44240</c:v>
                </c:pt>
                <c:pt idx="70">
                  <c:v>44241</c:v>
                </c:pt>
                <c:pt idx="71">
                  <c:v>44242</c:v>
                </c:pt>
                <c:pt idx="72">
                  <c:v>44243</c:v>
                </c:pt>
                <c:pt idx="73">
                  <c:v>44244</c:v>
                </c:pt>
                <c:pt idx="74">
                  <c:v>44245</c:v>
                </c:pt>
                <c:pt idx="75">
                  <c:v>44246</c:v>
                </c:pt>
                <c:pt idx="76">
                  <c:v>44247</c:v>
                </c:pt>
                <c:pt idx="77">
                  <c:v>44248</c:v>
                </c:pt>
                <c:pt idx="78">
                  <c:v>44249</c:v>
                </c:pt>
                <c:pt idx="79">
                  <c:v>44250</c:v>
                </c:pt>
                <c:pt idx="80">
                  <c:v>44251</c:v>
                </c:pt>
                <c:pt idx="81">
                  <c:v>44252</c:v>
                </c:pt>
                <c:pt idx="82">
                  <c:v>44253</c:v>
                </c:pt>
                <c:pt idx="83">
                  <c:v>44254</c:v>
                </c:pt>
                <c:pt idx="84">
                  <c:v>44255</c:v>
                </c:pt>
                <c:pt idx="85">
                  <c:v>44256</c:v>
                </c:pt>
                <c:pt idx="86">
                  <c:v>44257</c:v>
                </c:pt>
                <c:pt idx="87">
                  <c:v>44258</c:v>
                </c:pt>
                <c:pt idx="88">
                  <c:v>44259</c:v>
                </c:pt>
                <c:pt idx="89">
                  <c:v>44260</c:v>
                </c:pt>
                <c:pt idx="90">
                  <c:v>44261</c:v>
                </c:pt>
                <c:pt idx="91">
                  <c:v>44262</c:v>
                </c:pt>
                <c:pt idx="92">
                  <c:v>44263</c:v>
                </c:pt>
                <c:pt idx="93">
                  <c:v>44264</c:v>
                </c:pt>
                <c:pt idx="94">
                  <c:v>44265</c:v>
                </c:pt>
                <c:pt idx="95">
                  <c:v>44266</c:v>
                </c:pt>
                <c:pt idx="96">
                  <c:v>44267</c:v>
                </c:pt>
                <c:pt idx="97">
                  <c:v>44268</c:v>
                </c:pt>
                <c:pt idx="98">
                  <c:v>44269</c:v>
                </c:pt>
                <c:pt idx="99">
                  <c:v>44270</c:v>
                </c:pt>
                <c:pt idx="100">
                  <c:v>44271</c:v>
                </c:pt>
                <c:pt idx="101">
                  <c:v>44272</c:v>
                </c:pt>
                <c:pt idx="102">
                  <c:v>44273</c:v>
                </c:pt>
                <c:pt idx="103">
                  <c:v>44274</c:v>
                </c:pt>
                <c:pt idx="104">
                  <c:v>44275</c:v>
                </c:pt>
                <c:pt idx="105">
                  <c:v>44276</c:v>
                </c:pt>
                <c:pt idx="106">
                  <c:v>44277</c:v>
                </c:pt>
                <c:pt idx="107">
                  <c:v>44278</c:v>
                </c:pt>
                <c:pt idx="108">
                  <c:v>44279</c:v>
                </c:pt>
                <c:pt idx="109">
                  <c:v>44280</c:v>
                </c:pt>
                <c:pt idx="110">
                  <c:v>44281</c:v>
                </c:pt>
                <c:pt idx="111">
                  <c:v>44282</c:v>
                </c:pt>
                <c:pt idx="112">
                  <c:v>44283</c:v>
                </c:pt>
                <c:pt idx="113">
                  <c:v>44284</c:v>
                </c:pt>
                <c:pt idx="114">
                  <c:v>44285</c:v>
                </c:pt>
                <c:pt idx="115">
                  <c:v>44286</c:v>
                </c:pt>
                <c:pt idx="116">
                  <c:v>44287</c:v>
                </c:pt>
                <c:pt idx="117">
                  <c:v>44288</c:v>
                </c:pt>
                <c:pt idx="118">
                  <c:v>44289</c:v>
                </c:pt>
                <c:pt idx="119">
                  <c:v>44290</c:v>
                </c:pt>
              </c:numCache>
            </c:numRef>
          </c:cat>
          <c:val>
            <c:numRef>
              <c:f>Sheet1!$B$2:$B$121</c:f>
              <c:numCache>
                <c:formatCode>General</c:formatCode>
                <c:ptCount val="120"/>
                <c:pt idx="0">
                  <c:v>1112</c:v>
                </c:pt>
                <c:pt idx="1">
                  <c:v>4251</c:v>
                </c:pt>
                <c:pt idx="2">
                  <c:v>5855</c:v>
                </c:pt>
                <c:pt idx="3">
                  <c:v>6414</c:v>
                </c:pt>
                <c:pt idx="4">
                  <c:v>5872</c:v>
                </c:pt>
                <c:pt idx="5">
                  <c:v>6209</c:v>
                </c:pt>
                <c:pt idx="6">
                  <c:v>3655</c:v>
                </c:pt>
                <c:pt idx="7">
                  <c:v>1998</c:v>
                </c:pt>
                <c:pt idx="8">
                  <c:v>5176</c:v>
                </c:pt>
                <c:pt idx="9">
                  <c:v>7908</c:v>
                </c:pt>
                <c:pt idx="10">
                  <c:v>8258</c:v>
                </c:pt>
                <c:pt idx="11">
                  <c:v>7614</c:v>
                </c:pt>
                <c:pt idx="12">
                  <c:v>8838</c:v>
                </c:pt>
                <c:pt idx="13">
                  <c:v>5326</c:v>
                </c:pt>
                <c:pt idx="14">
                  <c:v>3403</c:v>
                </c:pt>
                <c:pt idx="15">
                  <c:v>7950</c:v>
                </c:pt>
                <c:pt idx="16">
                  <c:v>10911</c:v>
                </c:pt>
                <c:pt idx="17">
                  <c:v>14138</c:v>
                </c:pt>
                <c:pt idx="18">
                  <c:v>4373</c:v>
                </c:pt>
                <c:pt idx="19">
                  <c:v>2671</c:v>
                </c:pt>
                <c:pt idx="20">
                  <c:v>3031</c:v>
                </c:pt>
                <c:pt idx="21">
                  <c:v>3781</c:v>
                </c:pt>
                <c:pt idx="22">
                  <c:v>10936</c:v>
                </c:pt>
                <c:pt idx="23">
                  <c:v>16475</c:v>
                </c:pt>
                <c:pt idx="24">
                  <c:v>17059</c:v>
                </c:pt>
                <c:pt idx="25">
                  <c:v>13307</c:v>
                </c:pt>
                <c:pt idx="26">
                  <c:v>3446</c:v>
                </c:pt>
                <c:pt idx="27">
                  <c:v>4985</c:v>
                </c:pt>
                <c:pt idx="28">
                  <c:v>6267</c:v>
                </c:pt>
                <c:pt idx="29">
                  <c:v>12955</c:v>
                </c:pt>
                <c:pt idx="30">
                  <c:v>17399</c:v>
                </c:pt>
                <c:pt idx="31">
                  <c:v>17770</c:v>
                </c:pt>
                <c:pt idx="32">
                  <c:v>14882</c:v>
                </c:pt>
                <c:pt idx="33">
                  <c:v>13099</c:v>
                </c:pt>
                <c:pt idx="34">
                  <c:v>8437</c:v>
                </c:pt>
                <c:pt idx="35">
                  <c:v>4312</c:v>
                </c:pt>
                <c:pt idx="36">
                  <c:v>9384</c:v>
                </c:pt>
                <c:pt idx="37">
                  <c:v>10810</c:v>
                </c:pt>
                <c:pt idx="38">
                  <c:v>10918</c:v>
                </c:pt>
                <c:pt idx="39">
                  <c:v>8087</c:v>
                </c:pt>
                <c:pt idx="40">
                  <c:v>9300</c:v>
                </c:pt>
                <c:pt idx="41">
                  <c:v>5241</c:v>
                </c:pt>
                <c:pt idx="42">
                  <c:v>2641</c:v>
                </c:pt>
                <c:pt idx="43">
                  <c:v>7667</c:v>
                </c:pt>
                <c:pt idx="44">
                  <c:v>9609</c:v>
                </c:pt>
                <c:pt idx="45">
                  <c:v>8215</c:v>
                </c:pt>
                <c:pt idx="46">
                  <c:v>7532</c:v>
                </c:pt>
                <c:pt idx="47">
                  <c:v>8467</c:v>
                </c:pt>
                <c:pt idx="48">
                  <c:v>4239</c:v>
                </c:pt>
                <c:pt idx="49">
                  <c:v>2394</c:v>
                </c:pt>
                <c:pt idx="50">
                  <c:v>6974</c:v>
                </c:pt>
                <c:pt idx="51">
                  <c:v>9194</c:v>
                </c:pt>
                <c:pt idx="52">
                  <c:v>8503</c:v>
                </c:pt>
                <c:pt idx="53">
                  <c:v>8010</c:v>
                </c:pt>
                <c:pt idx="54">
                  <c:v>8052</c:v>
                </c:pt>
                <c:pt idx="55">
                  <c:v>4055</c:v>
                </c:pt>
                <c:pt idx="56">
                  <c:v>2573</c:v>
                </c:pt>
                <c:pt idx="57">
                  <c:v>7217</c:v>
                </c:pt>
                <c:pt idx="58">
                  <c:v>9148</c:v>
                </c:pt>
                <c:pt idx="59">
                  <c:v>9666</c:v>
                </c:pt>
                <c:pt idx="60">
                  <c:v>8106</c:v>
                </c:pt>
                <c:pt idx="61">
                  <c:v>8621</c:v>
                </c:pt>
                <c:pt idx="62">
                  <c:v>4820</c:v>
                </c:pt>
                <c:pt idx="63">
                  <c:v>2451</c:v>
                </c:pt>
                <c:pt idx="64">
                  <c:v>7779</c:v>
                </c:pt>
                <c:pt idx="65">
                  <c:v>10283</c:v>
                </c:pt>
                <c:pt idx="66">
                  <c:v>9538</c:v>
                </c:pt>
                <c:pt idx="67">
                  <c:v>9017</c:v>
                </c:pt>
                <c:pt idx="68">
                  <c:v>8827</c:v>
                </c:pt>
                <c:pt idx="69">
                  <c:v>5141</c:v>
                </c:pt>
                <c:pt idx="70">
                  <c:v>2881</c:v>
                </c:pt>
                <c:pt idx="71">
                  <c:v>8905</c:v>
                </c:pt>
                <c:pt idx="72">
                  <c:v>12609</c:v>
                </c:pt>
                <c:pt idx="73">
                  <c:v>10938</c:v>
                </c:pt>
                <c:pt idx="74">
                  <c:v>11702</c:v>
                </c:pt>
                <c:pt idx="75">
                  <c:v>11287</c:v>
                </c:pt>
                <c:pt idx="76">
                  <c:v>6775</c:v>
                </c:pt>
                <c:pt idx="77">
                  <c:v>4068</c:v>
                </c:pt>
                <c:pt idx="78">
                  <c:v>11408</c:v>
                </c:pt>
                <c:pt idx="79">
                  <c:v>15841</c:v>
                </c:pt>
                <c:pt idx="80">
                  <c:v>13795</c:v>
                </c:pt>
                <c:pt idx="81">
                  <c:v>14588</c:v>
                </c:pt>
                <c:pt idx="82">
                  <c:v>14776</c:v>
                </c:pt>
                <c:pt idx="83">
                  <c:v>7823</c:v>
                </c:pt>
                <c:pt idx="84">
                  <c:v>4587</c:v>
                </c:pt>
                <c:pt idx="85">
                  <c:v>12322</c:v>
                </c:pt>
                <c:pt idx="86">
                  <c:v>16776</c:v>
                </c:pt>
                <c:pt idx="87">
                  <c:v>15239</c:v>
                </c:pt>
                <c:pt idx="88">
                  <c:v>14648</c:v>
                </c:pt>
                <c:pt idx="89">
                  <c:v>13169</c:v>
                </c:pt>
                <c:pt idx="90">
                  <c:v>9130</c:v>
                </c:pt>
                <c:pt idx="91">
                  <c:v>3982</c:v>
                </c:pt>
                <c:pt idx="92">
                  <c:v>10653</c:v>
                </c:pt>
                <c:pt idx="93">
                  <c:v>15356</c:v>
                </c:pt>
                <c:pt idx="94">
                  <c:v>14535</c:v>
                </c:pt>
                <c:pt idx="95">
                  <c:v>11241</c:v>
                </c:pt>
                <c:pt idx="96">
                  <c:v>14956</c:v>
                </c:pt>
                <c:pt idx="97">
                  <c:v>6955</c:v>
                </c:pt>
                <c:pt idx="98">
                  <c:v>3331</c:v>
                </c:pt>
                <c:pt idx="99">
                  <c:v>10625</c:v>
                </c:pt>
                <c:pt idx="100">
                  <c:v>14026</c:v>
                </c:pt>
                <c:pt idx="101">
                  <c:v>12025</c:v>
                </c:pt>
                <c:pt idx="102">
                  <c:v>10656</c:v>
                </c:pt>
                <c:pt idx="103">
                  <c:v>9708</c:v>
                </c:pt>
                <c:pt idx="104">
                  <c:v>5466</c:v>
                </c:pt>
                <c:pt idx="105">
                  <c:v>2388</c:v>
                </c:pt>
                <c:pt idx="106">
                  <c:v>8242</c:v>
                </c:pt>
                <c:pt idx="107">
                  <c:v>10968</c:v>
                </c:pt>
                <c:pt idx="108">
                  <c:v>8845</c:v>
                </c:pt>
                <c:pt idx="109">
                  <c:v>7923</c:v>
                </c:pt>
                <c:pt idx="110">
                  <c:v>7708</c:v>
                </c:pt>
                <c:pt idx="111">
                  <c:v>3968</c:v>
                </c:pt>
                <c:pt idx="112">
                  <c:v>1742</c:v>
                </c:pt>
                <c:pt idx="113">
                  <c:v>6933</c:v>
                </c:pt>
                <c:pt idx="114">
                  <c:v>8628</c:v>
                </c:pt>
                <c:pt idx="115">
                  <c:v>7253</c:v>
                </c:pt>
                <c:pt idx="116">
                  <c:v>6245</c:v>
                </c:pt>
                <c:pt idx="117">
                  <c:v>3821</c:v>
                </c:pt>
                <c:pt idx="118">
                  <c:v>2149</c:v>
                </c:pt>
                <c:pt idx="119">
                  <c:v>19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08-4AA7-97EC-7B455FD098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4901576"/>
        <c:axId val="524901968"/>
      </c:barChart>
      <c:dateAx>
        <c:axId val="5249015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968"/>
        <c:crosses val="autoZero"/>
        <c:auto val="1"/>
        <c:lblOffset val="100"/>
        <c:baseTimeUnit val="days"/>
        <c:majorUnit val="2"/>
        <c:majorTimeUnit val="days"/>
      </c:dateAx>
      <c:valAx>
        <c:axId val="524901968"/>
        <c:scaling>
          <c:orientation val="minMax"/>
          <c:max val="28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576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1:$A$149</c:f>
              <c:numCache>
                <c:formatCode>m/d/yyyy</c:formatCode>
                <c:ptCount val="119"/>
                <c:pt idx="0">
                  <c:v>44165</c:v>
                </c:pt>
                <c:pt idx="1">
                  <c:v>44166</c:v>
                </c:pt>
                <c:pt idx="2">
                  <c:v>44167</c:v>
                </c:pt>
                <c:pt idx="3">
                  <c:v>44168</c:v>
                </c:pt>
                <c:pt idx="4">
                  <c:v>44169</c:v>
                </c:pt>
                <c:pt idx="5">
                  <c:v>44170</c:v>
                </c:pt>
                <c:pt idx="6">
                  <c:v>44171</c:v>
                </c:pt>
                <c:pt idx="7">
                  <c:v>44172</c:v>
                </c:pt>
                <c:pt idx="8">
                  <c:v>44173</c:v>
                </c:pt>
                <c:pt idx="9">
                  <c:v>44174</c:v>
                </c:pt>
                <c:pt idx="10">
                  <c:v>44175</c:v>
                </c:pt>
                <c:pt idx="11">
                  <c:v>44176</c:v>
                </c:pt>
                <c:pt idx="12">
                  <c:v>44177</c:v>
                </c:pt>
                <c:pt idx="13">
                  <c:v>44178</c:v>
                </c:pt>
                <c:pt idx="14">
                  <c:v>44179</c:v>
                </c:pt>
                <c:pt idx="15">
                  <c:v>44180</c:v>
                </c:pt>
                <c:pt idx="16">
                  <c:v>44181</c:v>
                </c:pt>
                <c:pt idx="17">
                  <c:v>44182</c:v>
                </c:pt>
                <c:pt idx="18">
                  <c:v>44183</c:v>
                </c:pt>
                <c:pt idx="19">
                  <c:v>44184</c:v>
                </c:pt>
                <c:pt idx="20">
                  <c:v>44185</c:v>
                </c:pt>
                <c:pt idx="21">
                  <c:v>44186</c:v>
                </c:pt>
                <c:pt idx="22">
                  <c:v>44187</c:v>
                </c:pt>
                <c:pt idx="23">
                  <c:v>44188</c:v>
                </c:pt>
                <c:pt idx="24">
                  <c:v>44189</c:v>
                </c:pt>
                <c:pt idx="25">
                  <c:v>44190</c:v>
                </c:pt>
                <c:pt idx="26">
                  <c:v>44191</c:v>
                </c:pt>
                <c:pt idx="27">
                  <c:v>44192</c:v>
                </c:pt>
                <c:pt idx="28">
                  <c:v>44193</c:v>
                </c:pt>
                <c:pt idx="29">
                  <c:v>44194</c:v>
                </c:pt>
                <c:pt idx="30">
                  <c:v>44195</c:v>
                </c:pt>
                <c:pt idx="31">
                  <c:v>44196</c:v>
                </c:pt>
                <c:pt idx="32">
                  <c:v>44197</c:v>
                </c:pt>
                <c:pt idx="33">
                  <c:v>44198</c:v>
                </c:pt>
                <c:pt idx="34">
                  <c:v>44199</c:v>
                </c:pt>
                <c:pt idx="35">
                  <c:v>44200</c:v>
                </c:pt>
                <c:pt idx="36">
                  <c:v>44201</c:v>
                </c:pt>
                <c:pt idx="37">
                  <c:v>44202</c:v>
                </c:pt>
                <c:pt idx="38">
                  <c:v>44203</c:v>
                </c:pt>
                <c:pt idx="39">
                  <c:v>44204</c:v>
                </c:pt>
                <c:pt idx="40">
                  <c:v>44205</c:v>
                </c:pt>
                <c:pt idx="41">
                  <c:v>44206</c:v>
                </c:pt>
                <c:pt idx="42">
                  <c:v>44207</c:v>
                </c:pt>
                <c:pt idx="43">
                  <c:v>44208</c:v>
                </c:pt>
                <c:pt idx="44">
                  <c:v>44209</c:v>
                </c:pt>
                <c:pt idx="45">
                  <c:v>44210</c:v>
                </c:pt>
                <c:pt idx="46">
                  <c:v>44211</c:v>
                </c:pt>
                <c:pt idx="47">
                  <c:v>44212</c:v>
                </c:pt>
                <c:pt idx="48">
                  <c:v>44213</c:v>
                </c:pt>
                <c:pt idx="49">
                  <c:v>44214</c:v>
                </c:pt>
                <c:pt idx="50">
                  <c:v>44215</c:v>
                </c:pt>
                <c:pt idx="51">
                  <c:v>44216</c:v>
                </c:pt>
                <c:pt idx="52">
                  <c:v>44217</c:v>
                </c:pt>
                <c:pt idx="53">
                  <c:v>44218</c:v>
                </c:pt>
                <c:pt idx="54">
                  <c:v>44219</c:v>
                </c:pt>
                <c:pt idx="55">
                  <c:v>44220</c:v>
                </c:pt>
                <c:pt idx="56">
                  <c:v>44221</c:v>
                </c:pt>
                <c:pt idx="57">
                  <c:v>44222</c:v>
                </c:pt>
                <c:pt idx="58">
                  <c:v>44223</c:v>
                </c:pt>
                <c:pt idx="59">
                  <c:v>44224</c:v>
                </c:pt>
                <c:pt idx="60">
                  <c:v>44225</c:v>
                </c:pt>
                <c:pt idx="61">
                  <c:v>44226</c:v>
                </c:pt>
                <c:pt idx="62">
                  <c:v>44227</c:v>
                </c:pt>
                <c:pt idx="63">
                  <c:v>44228</c:v>
                </c:pt>
                <c:pt idx="64">
                  <c:v>44229</c:v>
                </c:pt>
                <c:pt idx="65">
                  <c:v>44230</c:v>
                </c:pt>
                <c:pt idx="66">
                  <c:v>44231</c:v>
                </c:pt>
                <c:pt idx="67">
                  <c:v>44232</c:v>
                </c:pt>
                <c:pt idx="68">
                  <c:v>44233</c:v>
                </c:pt>
                <c:pt idx="69">
                  <c:v>44234</c:v>
                </c:pt>
                <c:pt idx="70">
                  <c:v>44235</c:v>
                </c:pt>
                <c:pt idx="71">
                  <c:v>44236</c:v>
                </c:pt>
                <c:pt idx="72">
                  <c:v>44237</c:v>
                </c:pt>
                <c:pt idx="73">
                  <c:v>44238</c:v>
                </c:pt>
                <c:pt idx="74">
                  <c:v>44239</c:v>
                </c:pt>
                <c:pt idx="75">
                  <c:v>44240</c:v>
                </c:pt>
                <c:pt idx="76">
                  <c:v>44241</c:v>
                </c:pt>
                <c:pt idx="77">
                  <c:v>44242</c:v>
                </c:pt>
                <c:pt idx="78">
                  <c:v>44243</c:v>
                </c:pt>
                <c:pt idx="79">
                  <c:v>44244</c:v>
                </c:pt>
                <c:pt idx="80">
                  <c:v>44245</c:v>
                </c:pt>
                <c:pt idx="81">
                  <c:v>44246</c:v>
                </c:pt>
                <c:pt idx="82">
                  <c:v>44247</c:v>
                </c:pt>
                <c:pt idx="83">
                  <c:v>44248</c:v>
                </c:pt>
                <c:pt idx="84">
                  <c:v>44249</c:v>
                </c:pt>
                <c:pt idx="85">
                  <c:v>44250</c:v>
                </c:pt>
                <c:pt idx="86">
                  <c:v>44251</c:v>
                </c:pt>
                <c:pt idx="87">
                  <c:v>44252</c:v>
                </c:pt>
                <c:pt idx="88">
                  <c:v>44253</c:v>
                </c:pt>
                <c:pt idx="89">
                  <c:v>44254</c:v>
                </c:pt>
                <c:pt idx="90">
                  <c:v>44255</c:v>
                </c:pt>
                <c:pt idx="91">
                  <c:v>44256</c:v>
                </c:pt>
                <c:pt idx="92">
                  <c:v>44257</c:v>
                </c:pt>
                <c:pt idx="93">
                  <c:v>44258</c:v>
                </c:pt>
                <c:pt idx="94">
                  <c:v>44259</c:v>
                </c:pt>
                <c:pt idx="95">
                  <c:v>44260</c:v>
                </c:pt>
                <c:pt idx="96">
                  <c:v>44261</c:v>
                </c:pt>
                <c:pt idx="97">
                  <c:v>44262</c:v>
                </c:pt>
                <c:pt idx="98">
                  <c:v>44263</c:v>
                </c:pt>
                <c:pt idx="99">
                  <c:v>44264</c:v>
                </c:pt>
                <c:pt idx="100">
                  <c:v>44265</c:v>
                </c:pt>
                <c:pt idx="101">
                  <c:v>44266</c:v>
                </c:pt>
                <c:pt idx="102">
                  <c:v>44267</c:v>
                </c:pt>
                <c:pt idx="103">
                  <c:v>44268</c:v>
                </c:pt>
                <c:pt idx="104">
                  <c:v>44269</c:v>
                </c:pt>
                <c:pt idx="105">
                  <c:v>44270</c:v>
                </c:pt>
                <c:pt idx="106">
                  <c:v>44271</c:v>
                </c:pt>
                <c:pt idx="107">
                  <c:v>44272</c:v>
                </c:pt>
                <c:pt idx="108">
                  <c:v>44273</c:v>
                </c:pt>
                <c:pt idx="109">
                  <c:v>44274</c:v>
                </c:pt>
                <c:pt idx="110">
                  <c:v>44275</c:v>
                </c:pt>
                <c:pt idx="111">
                  <c:v>44276</c:v>
                </c:pt>
                <c:pt idx="112">
                  <c:v>44277</c:v>
                </c:pt>
                <c:pt idx="113">
                  <c:v>44278</c:v>
                </c:pt>
                <c:pt idx="114">
                  <c:v>44279</c:v>
                </c:pt>
                <c:pt idx="115">
                  <c:v>44280</c:v>
                </c:pt>
                <c:pt idx="116">
                  <c:v>44281</c:v>
                </c:pt>
                <c:pt idx="117">
                  <c:v>44282</c:v>
                </c:pt>
                <c:pt idx="118">
                  <c:v>44283</c:v>
                </c:pt>
              </c:numCache>
            </c:numRef>
          </c:cat>
          <c:val>
            <c:numRef>
              <c:f>Sheet1!$B$31:$B$149</c:f>
              <c:numCache>
                <c:formatCode>General</c:formatCode>
                <c:ptCount val="119"/>
                <c:pt idx="0">
                  <c:v>3572</c:v>
                </c:pt>
                <c:pt idx="1">
                  <c:v>5180</c:v>
                </c:pt>
                <c:pt idx="2">
                  <c:v>4561</c:v>
                </c:pt>
                <c:pt idx="3">
                  <c:v>4624</c:v>
                </c:pt>
                <c:pt idx="4">
                  <c:v>4747</c:v>
                </c:pt>
                <c:pt idx="5">
                  <c:v>3312</c:v>
                </c:pt>
                <c:pt idx="6">
                  <c:v>1112</c:v>
                </c:pt>
                <c:pt idx="7">
                  <c:v>4251</c:v>
                </c:pt>
                <c:pt idx="8">
                  <c:v>5855</c:v>
                </c:pt>
                <c:pt idx="9">
                  <c:v>6414</c:v>
                </c:pt>
                <c:pt idx="10">
                  <c:v>5872</c:v>
                </c:pt>
                <c:pt idx="11">
                  <c:v>6209</c:v>
                </c:pt>
                <c:pt idx="12">
                  <c:v>3655</c:v>
                </c:pt>
                <c:pt idx="13">
                  <c:v>1998</c:v>
                </c:pt>
                <c:pt idx="14">
                  <c:v>5176</c:v>
                </c:pt>
                <c:pt idx="15">
                  <c:v>7908</c:v>
                </c:pt>
                <c:pt idx="16">
                  <c:v>8258</c:v>
                </c:pt>
                <c:pt idx="17">
                  <c:v>7614</c:v>
                </c:pt>
                <c:pt idx="18">
                  <c:v>8836</c:v>
                </c:pt>
                <c:pt idx="19">
                  <c:v>5326</c:v>
                </c:pt>
                <c:pt idx="20">
                  <c:v>3403</c:v>
                </c:pt>
                <c:pt idx="21">
                  <c:v>7950</c:v>
                </c:pt>
                <c:pt idx="22">
                  <c:v>10911</c:v>
                </c:pt>
                <c:pt idx="23">
                  <c:v>14138</c:v>
                </c:pt>
                <c:pt idx="24">
                  <c:v>4373</c:v>
                </c:pt>
                <c:pt idx="25">
                  <c:v>2671</c:v>
                </c:pt>
                <c:pt idx="26">
                  <c:v>3031</c:v>
                </c:pt>
                <c:pt idx="27">
                  <c:v>3781</c:v>
                </c:pt>
                <c:pt idx="28">
                  <c:v>10935</c:v>
                </c:pt>
                <c:pt idx="29">
                  <c:v>16473</c:v>
                </c:pt>
                <c:pt idx="30">
                  <c:v>17059</c:v>
                </c:pt>
                <c:pt idx="31">
                  <c:v>13307</c:v>
                </c:pt>
                <c:pt idx="32">
                  <c:v>3446</c:v>
                </c:pt>
                <c:pt idx="33">
                  <c:v>4985</c:v>
                </c:pt>
                <c:pt idx="34">
                  <c:v>6267</c:v>
                </c:pt>
                <c:pt idx="35">
                  <c:v>12955</c:v>
                </c:pt>
                <c:pt idx="36">
                  <c:v>17399</c:v>
                </c:pt>
                <c:pt idx="37">
                  <c:v>17769</c:v>
                </c:pt>
                <c:pt idx="38">
                  <c:v>14882</c:v>
                </c:pt>
                <c:pt idx="39">
                  <c:v>13099</c:v>
                </c:pt>
                <c:pt idx="40">
                  <c:v>8437</c:v>
                </c:pt>
                <c:pt idx="41">
                  <c:v>4311</c:v>
                </c:pt>
                <c:pt idx="42">
                  <c:v>9383</c:v>
                </c:pt>
                <c:pt idx="43">
                  <c:v>10808</c:v>
                </c:pt>
                <c:pt idx="44">
                  <c:v>10917</c:v>
                </c:pt>
                <c:pt idx="45">
                  <c:v>8087</c:v>
                </c:pt>
                <c:pt idx="46">
                  <c:v>9300</c:v>
                </c:pt>
                <c:pt idx="47">
                  <c:v>5241</c:v>
                </c:pt>
                <c:pt idx="48">
                  <c:v>2641</c:v>
                </c:pt>
                <c:pt idx="49">
                  <c:v>7667</c:v>
                </c:pt>
                <c:pt idx="50">
                  <c:v>9609</c:v>
                </c:pt>
                <c:pt idx="51">
                  <c:v>8215</c:v>
                </c:pt>
                <c:pt idx="52">
                  <c:v>7532</c:v>
                </c:pt>
                <c:pt idx="53">
                  <c:v>8466</c:v>
                </c:pt>
                <c:pt idx="54">
                  <c:v>4239</c:v>
                </c:pt>
                <c:pt idx="55">
                  <c:v>2394</c:v>
                </c:pt>
                <c:pt idx="56">
                  <c:v>6974</c:v>
                </c:pt>
                <c:pt idx="57">
                  <c:v>9194</c:v>
                </c:pt>
                <c:pt idx="58">
                  <c:v>8503</c:v>
                </c:pt>
                <c:pt idx="59">
                  <c:v>8010</c:v>
                </c:pt>
                <c:pt idx="60">
                  <c:v>8052</c:v>
                </c:pt>
                <c:pt idx="61">
                  <c:v>4055</c:v>
                </c:pt>
                <c:pt idx="62">
                  <c:v>2573</c:v>
                </c:pt>
                <c:pt idx="63">
                  <c:v>7217</c:v>
                </c:pt>
                <c:pt idx="64">
                  <c:v>9148</c:v>
                </c:pt>
                <c:pt idx="65">
                  <c:v>9666</c:v>
                </c:pt>
                <c:pt idx="66">
                  <c:v>8106</c:v>
                </c:pt>
                <c:pt idx="67">
                  <c:v>8621</c:v>
                </c:pt>
                <c:pt idx="68">
                  <c:v>4820</c:v>
                </c:pt>
                <c:pt idx="69">
                  <c:v>2451</c:v>
                </c:pt>
                <c:pt idx="70">
                  <c:v>7779</c:v>
                </c:pt>
                <c:pt idx="71">
                  <c:v>10283</c:v>
                </c:pt>
                <c:pt idx="72">
                  <c:v>9538</c:v>
                </c:pt>
                <c:pt idx="73">
                  <c:v>9017</c:v>
                </c:pt>
                <c:pt idx="74">
                  <c:v>8827</c:v>
                </c:pt>
                <c:pt idx="75">
                  <c:v>5141</c:v>
                </c:pt>
                <c:pt idx="76">
                  <c:v>2881</c:v>
                </c:pt>
                <c:pt idx="77">
                  <c:v>8905</c:v>
                </c:pt>
                <c:pt idx="78">
                  <c:v>12609</c:v>
                </c:pt>
                <c:pt idx="79">
                  <c:v>10938</c:v>
                </c:pt>
                <c:pt idx="80">
                  <c:v>11702</c:v>
                </c:pt>
                <c:pt idx="81">
                  <c:v>11287</c:v>
                </c:pt>
                <c:pt idx="82">
                  <c:v>6775</c:v>
                </c:pt>
                <c:pt idx="83">
                  <c:v>4068</c:v>
                </c:pt>
                <c:pt idx="84">
                  <c:v>11408</c:v>
                </c:pt>
                <c:pt idx="85">
                  <c:v>15841</c:v>
                </c:pt>
                <c:pt idx="86">
                  <c:v>13795</c:v>
                </c:pt>
                <c:pt idx="87">
                  <c:v>14588</c:v>
                </c:pt>
                <c:pt idx="88">
                  <c:v>14776</c:v>
                </c:pt>
                <c:pt idx="89">
                  <c:v>7823</c:v>
                </c:pt>
                <c:pt idx="90">
                  <c:v>4587</c:v>
                </c:pt>
                <c:pt idx="91">
                  <c:v>12321</c:v>
                </c:pt>
                <c:pt idx="92">
                  <c:v>16776</c:v>
                </c:pt>
                <c:pt idx="93">
                  <c:v>15239</c:v>
                </c:pt>
                <c:pt idx="94">
                  <c:v>14645</c:v>
                </c:pt>
                <c:pt idx="95">
                  <c:v>13168</c:v>
                </c:pt>
                <c:pt idx="96">
                  <c:v>9123</c:v>
                </c:pt>
                <c:pt idx="97">
                  <c:v>3981</c:v>
                </c:pt>
                <c:pt idx="98">
                  <c:v>10653</c:v>
                </c:pt>
                <c:pt idx="99">
                  <c:v>15355</c:v>
                </c:pt>
                <c:pt idx="100">
                  <c:v>14533</c:v>
                </c:pt>
                <c:pt idx="101">
                  <c:v>11241</c:v>
                </c:pt>
                <c:pt idx="102">
                  <c:v>14956</c:v>
                </c:pt>
                <c:pt idx="103">
                  <c:v>6955</c:v>
                </c:pt>
                <c:pt idx="104">
                  <c:v>3330</c:v>
                </c:pt>
                <c:pt idx="105">
                  <c:v>10621</c:v>
                </c:pt>
                <c:pt idx="106">
                  <c:v>14025</c:v>
                </c:pt>
                <c:pt idx="107">
                  <c:v>12020</c:v>
                </c:pt>
                <c:pt idx="108">
                  <c:v>10652</c:v>
                </c:pt>
                <c:pt idx="109">
                  <c:v>9706</c:v>
                </c:pt>
                <c:pt idx="110">
                  <c:v>5463</c:v>
                </c:pt>
                <c:pt idx="111">
                  <c:v>2388</c:v>
                </c:pt>
                <c:pt idx="112">
                  <c:v>8240</c:v>
                </c:pt>
                <c:pt idx="113">
                  <c:v>10966</c:v>
                </c:pt>
                <c:pt idx="114">
                  <c:v>8843</c:v>
                </c:pt>
                <c:pt idx="115">
                  <c:v>7913</c:v>
                </c:pt>
                <c:pt idx="116">
                  <c:v>7700</c:v>
                </c:pt>
                <c:pt idx="117">
                  <c:v>3965</c:v>
                </c:pt>
                <c:pt idx="118">
                  <c:v>17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A$7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7:$BV$7</c:f>
              <c:numCache>
                <c:formatCode>#,##0</c:formatCode>
                <c:ptCount val="73"/>
                <c:pt idx="0">
                  <c:v>5643</c:v>
                </c:pt>
                <c:pt idx="1">
                  <c:v>5948</c:v>
                </c:pt>
                <c:pt idx="2">
                  <c:v>6262</c:v>
                </c:pt>
                <c:pt idx="3">
                  <c:v>7201</c:v>
                </c:pt>
                <c:pt idx="4">
                  <c:v>7379</c:v>
                </c:pt>
                <c:pt idx="5">
                  <c:v>7369</c:v>
                </c:pt>
                <c:pt idx="6">
                  <c:v>7507</c:v>
                </c:pt>
                <c:pt idx="7">
                  <c:v>7302</c:v>
                </c:pt>
                <c:pt idx="8">
                  <c:v>6727</c:v>
                </c:pt>
                <c:pt idx="9">
                  <c:v>6837</c:v>
                </c:pt>
                <c:pt idx="10">
                  <c:v>7376</c:v>
                </c:pt>
                <c:pt idx="11">
                  <c:v>7430</c:v>
                </c:pt>
                <c:pt idx="12">
                  <c:v>7258</c:v>
                </c:pt>
                <c:pt idx="13">
                  <c:v>7183</c:v>
                </c:pt>
                <c:pt idx="14">
                  <c:v>7099</c:v>
                </c:pt>
                <c:pt idx="15">
                  <c:v>6475</c:v>
                </c:pt>
                <c:pt idx="16">
                  <c:v>6443</c:v>
                </c:pt>
                <c:pt idx="17">
                  <c:v>6929</c:v>
                </c:pt>
                <c:pt idx="18">
                  <c:v>6645</c:v>
                </c:pt>
                <c:pt idx="19">
                  <c:v>6470</c:v>
                </c:pt>
                <c:pt idx="20">
                  <c:v>6350</c:v>
                </c:pt>
                <c:pt idx="21">
                  <c:v>6327</c:v>
                </c:pt>
                <c:pt idx="22">
                  <c:v>5826</c:v>
                </c:pt>
                <c:pt idx="23">
                  <c:v>5866</c:v>
                </c:pt>
                <c:pt idx="24">
                  <c:v>6286</c:v>
                </c:pt>
                <c:pt idx="25">
                  <c:v>6252</c:v>
                </c:pt>
                <c:pt idx="26">
                  <c:v>6094</c:v>
                </c:pt>
                <c:pt idx="27">
                  <c:v>5988</c:v>
                </c:pt>
                <c:pt idx="28">
                  <c:v>5929</c:v>
                </c:pt>
                <c:pt idx="29">
                  <c:v>5492</c:v>
                </c:pt>
                <c:pt idx="30">
                  <c:v>5539</c:v>
                </c:pt>
                <c:pt idx="31">
                  <c:v>6065</c:v>
                </c:pt>
                <c:pt idx="32">
                  <c:v>5955</c:v>
                </c:pt>
                <c:pt idx="33">
                  <c:v>5927</c:v>
                </c:pt>
                <c:pt idx="34">
                  <c:v>5952</c:v>
                </c:pt>
                <c:pt idx="35">
                  <c:v>5933</c:v>
                </c:pt>
                <c:pt idx="36">
                  <c:v>5603</c:v>
                </c:pt>
                <c:pt idx="37">
                  <c:v>5745</c:v>
                </c:pt>
                <c:pt idx="38">
                  <c:v>6162</c:v>
                </c:pt>
                <c:pt idx="39">
                  <c:v>6093</c:v>
                </c:pt>
                <c:pt idx="40">
                  <c:v>6012</c:v>
                </c:pt>
                <c:pt idx="41">
                  <c:v>5986</c:v>
                </c:pt>
                <c:pt idx="42">
                  <c:v>5918</c:v>
                </c:pt>
                <c:pt idx="43">
                  <c:v>5613</c:v>
                </c:pt>
                <c:pt idx="44">
                  <c:v>5827</c:v>
                </c:pt>
                <c:pt idx="45">
                  <c:v>6312</c:v>
                </c:pt>
                <c:pt idx="46">
                  <c:v>6347</c:v>
                </c:pt>
                <c:pt idx="47">
                  <c:v>6435</c:v>
                </c:pt>
                <c:pt idx="48">
                  <c:v>6529</c:v>
                </c:pt>
                <c:pt idx="49">
                  <c:v>6549</c:v>
                </c:pt>
                <c:pt idx="50">
                  <c:v>6148</c:v>
                </c:pt>
                <c:pt idx="51">
                  <c:v>6366</c:v>
                </c:pt>
                <c:pt idx="52">
                  <c:v>7076</c:v>
                </c:pt>
                <c:pt idx="53">
                  <c:v>7110</c:v>
                </c:pt>
                <c:pt idx="54">
                  <c:v>7202</c:v>
                </c:pt>
                <c:pt idx="55">
                  <c:v>7425</c:v>
                </c:pt>
                <c:pt idx="56">
                  <c:v>7528</c:v>
                </c:pt>
                <c:pt idx="57">
                  <c:v>7233</c:v>
                </c:pt>
                <c:pt idx="58">
                  <c:v>7504</c:v>
                </c:pt>
                <c:pt idx="59">
                  <c:v>8324</c:v>
                </c:pt>
                <c:pt idx="60">
                  <c:v>8511</c:v>
                </c:pt>
                <c:pt idx="61">
                  <c:v>8469</c:v>
                </c:pt>
                <c:pt idx="62">
                  <c:v>8451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DC-4595-A177-B1F41A5E4A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strRef>
              <c:f>Sheet1!$A$3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3:$BV$3</c:f>
              <c:numCache>
                <c:formatCode>General</c:formatCode>
                <c:ptCount val="73"/>
                <c:pt idx="49" formatCode="#,##0">
                  <c:v>6659.6154455943533</c:v>
                </c:pt>
                <c:pt idx="50" formatCode="#,##0">
                  <c:v>6748.9208121693591</c:v>
                </c:pt>
                <c:pt idx="51" formatCode="#,##0">
                  <c:v>6850.6916652139143</c:v>
                </c:pt>
                <c:pt idx="52" formatCode="#,##0">
                  <c:v>6962.2711337086521</c:v>
                </c:pt>
                <c:pt idx="53" formatCode="#,##0">
                  <c:v>7080.6654033050463</c:v>
                </c:pt>
                <c:pt idx="54" formatCode="#,##0">
                  <c:v>7206.7754838311384</c:v>
                </c:pt>
                <c:pt idx="55" formatCode="#,##0">
                  <c:v>7338.9286752269927</c:v>
                </c:pt>
                <c:pt idx="56" formatCode="#,##0">
                  <c:v>7473.826484441448</c:v>
                </c:pt>
                <c:pt idx="57" formatCode="#,##0">
                  <c:v>7612.0908488840487</c:v>
                </c:pt>
                <c:pt idx="58" formatCode="#,##0">
                  <c:v>7754.8332183969742</c:v>
                </c:pt>
                <c:pt idx="59" formatCode="#,##0">
                  <c:v>7900.3256970297425</c:v>
                </c:pt>
                <c:pt idx="60" formatCode="#,##0">
                  <c:v>8047.6470427439317</c:v>
                </c:pt>
                <c:pt idx="61" formatCode="#,##0">
                  <c:v>8197.7051658163018</c:v>
                </c:pt>
                <c:pt idx="62" formatCode="#,##0">
                  <c:v>8351.0818288123828</c:v>
                </c:pt>
                <c:pt idx="63" formatCode="#,##0">
                  <c:v>8508.8361059491526</c:v>
                </c:pt>
                <c:pt idx="64" formatCode="#,##0">
                  <c:v>8670.8096350308006</c:v>
                </c:pt>
                <c:pt idx="65" formatCode="#,##0">
                  <c:v>8836.0498295664693</c:v>
                </c:pt>
                <c:pt idx="66" formatCode="#,##0">
                  <c:v>9002.8531877212336</c:v>
                </c:pt>
                <c:pt idx="67" formatCode="#,##0">
                  <c:v>9171.238743013324</c:v>
                </c:pt>
                <c:pt idx="68" formatCode="#,##0">
                  <c:v>9342.1553760747192</c:v>
                </c:pt>
                <c:pt idx="69" formatCode="#,##0">
                  <c:v>9516.1140691993169</c:v>
                </c:pt>
                <c:pt idx="70" formatCode="#,##0">
                  <c:v>9693.4941796280527</c:v>
                </c:pt>
                <c:pt idx="71" formatCode="#,##0">
                  <c:v>9874.3369202272479</c:v>
                </c:pt>
                <c:pt idx="72" formatCode="#,##0">
                  <c:v>10058.437766842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DC-4595-A177-B1F41A5E4AC2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4:$BV$4</c:f>
              <c:numCache>
                <c:formatCode>General</c:formatCode>
                <c:ptCount val="73"/>
                <c:pt idx="49" formatCode="#,##0">
                  <c:v>6659.6154455943533</c:v>
                </c:pt>
                <c:pt idx="50" formatCode="#,##0">
                  <c:v>6764.8777222176132</c:v>
                </c:pt>
                <c:pt idx="51" formatCode="#,##0">
                  <c:v>6895.4494539466959</c:v>
                </c:pt>
                <c:pt idx="52" formatCode="#,##0">
                  <c:v>7044.1169989352102</c:v>
                </c:pt>
                <c:pt idx="53" formatCode="#,##0">
                  <c:v>7204.8717328998009</c:v>
                </c:pt>
                <c:pt idx="54" formatCode="#,##0">
                  <c:v>7381.3264133255061</c:v>
                </c:pt>
                <c:pt idx="55" formatCode="#,##0">
                  <c:v>7574.5921651194185</c:v>
                </c:pt>
                <c:pt idx="56" formatCode="#,##0">
                  <c:v>7782.9613685191089</c:v>
                </c:pt>
                <c:pt idx="57" formatCode="#,##0">
                  <c:v>8008.0186373907427</c:v>
                </c:pt>
                <c:pt idx="58" formatCode="#,##0">
                  <c:v>8247.6915633853259</c:v>
                </c:pt>
                <c:pt idx="59" formatCode="#,##0">
                  <c:v>8498.9990078418941</c:v>
                </c:pt>
                <c:pt idx="60" formatCode="#,##0">
                  <c:v>8761.7813808140127</c:v>
                </c:pt>
                <c:pt idx="61" formatCode="#,##0">
                  <c:v>9038.6529267810856</c:v>
                </c:pt>
                <c:pt idx="62" formatCode="#,##0">
                  <c:v>9330.5867526346938</c:v>
                </c:pt>
                <c:pt idx="63" formatCode="#,##0">
                  <c:v>9638.0266716825136</c:v>
                </c:pt>
                <c:pt idx="64" formatCode="#,##0">
                  <c:v>9960.0164651868945</c:v>
                </c:pt>
                <c:pt idx="65" formatCode="#,##0">
                  <c:v>10295.105862985723</c:v>
                </c:pt>
                <c:pt idx="66" formatCode="#,##0">
                  <c:v>10642.154917756741</c:v>
                </c:pt>
                <c:pt idx="67" formatCode="#,##0">
                  <c:v>11002.112945330127</c:v>
                </c:pt>
                <c:pt idx="68" formatCode="#,##0">
                  <c:v>11376.384814996483</c:v>
                </c:pt>
                <c:pt idx="69" formatCode="#,##0">
                  <c:v>11765.141422878985</c:v>
                </c:pt>
                <c:pt idx="70" formatCode="#,##0">
                  <c:v>12168.535603923207</c:v>
                </c:pt>
                <c:pt idx="71" formatCode="#,##0">
                  <c:v>12586.687689759254</c:v>
                </c:pt>
                <c:pt idx="72" formatCode="#,##0">
                  <c:v>13019.934429455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8DC-4595-A177-B1F41A5E4AC2}"/>
            </c:ext>
          </c:extLst>
        </c:ser>
        <c:ser>
          <c:idx val="4"/>
          <c:order val="2"/>
          <c:tx>
            <c:strRef>
              <c:f>Sheet1!$A$6</c:f>
              <c:strCache>
                <c:ptCount val="1"/>
                <c:pt idx="0">
                  <c:v>x</c:v>
                </c:pt>
              </c:strCache>
            </c:strRef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6:$BV$6</c:f>
              <c:numCache>
                <c:formatCode>#,##0</c:formatCode>
                <c:ptCount val="73"/>
                <c:pt idx="0">
                  <c:v>8155</c:v>
                </c:pt>
                <c:pt idx="1">
                  <c:v>8155</c:v>
                </c:pt>
                <c:pt idx="2">
                  <c:v>8155</c:v>
                </c:pt>
                <c:pt idx="3">
                  <c:v>8155</c:v>
                </c:pt>
                <c:pt idx="4">
                  <c:v>8155</c:v>
                </c:pt>
                <c:pt idx="5">
                  <c:v>8155</c:v>
                </c:pt>
                <c:pt idx="6">
                  <c:v>8155</c:v>
                </c:pt>
                <c:pt idx="7">
                  <c:v>8155</c:v>
                </c:pt>
                <c:pt idx="8">
                  <c:v>8155</c:v>
                </c:pt>
                <c:pt idx="9">
                  <c:v>8155</c:v>
                </c:pt>
                <c:pt idx="10">
                  <c:v>8155</c:v>
                </c:pt>
                <c:pt idx="11">
                  <c:v>8155</c:v>
                </c:pt>
                <c:pt idx="12">
                  <c:v>8155</c:v>
                </c:pt>
                <c:pt idx="13">
                  <c:v>8155</c:v>
                </c:pt>
                <c:pt idx="14">
                  <c:v>8155</c:v>
                </c:pt>
                <c:pt idx="15">
                  <c:v>8155</c:v>
                </c:pt>
                <c:pt idx="16">
                  <c:v>8155</c:v>
                </c:pt>
                <c:pt idx="17">
                  <c:v>8155</c:v>
                </c:pt>
                <c:pt idx="18">
                  <c:v>8155</c:v>
                </c:pt>
                <c:pt idx="19">
                  <c:v>8155</c:v>
                </c:pt>
                <c:pt idx="20">
                  <c:v>8155</c:v>
                </c:pt>
                <c:pt idx="21">
                  <c:v>8155</c:v>
                </c:pt>
                <c:pt idx="22">
                  <c:v>8155</c:v>
                </c:pt>
                <c:pt idx="23">
                  <c:v>8155</c:v>
                </c:pt>
                <c:pt idx="24">
                  <c:v>8155</c:v>
                </c:pt>
                <c:pt idx="25">
                  <c:v>8155</c:v>
                </c:pt>
                <c:pt idx="26">
                  <c:v>8155</c:v>
                </c:pt>
                <c:pt idx="27">
                  <c:v>8155</c:v>
                </c:pt>
                <c:pt idx="28">
                  <c:v>8155</c:v>
                </c:pt>
                <c:pt idx="29">
                  <c:v>8155</c:v>
                </c:pt>
                <c:pt idx="30">
                  <c:v>8155</c:v>
                </c:pt>
                <c:pt idx="31">
                  <c:v>8155</c:v>
                </c:pt>
                <c:pt idx="32">
                  <c:v>8155</c:v>
                </c:pt>
                <c:pt idx="33">
                  <c:v>8155</c:v>
                </c:pt>
                <c:pt idx="34">
                  <c:v>8155</c:v>
                </c:pt>
                <c:pt idx="35">
                  <c:v>8155</c:v>
                </c:pt>
                <c:pt idx="36">
                  <c:v>8155</c:v>
                </c:pt>
                <c:pt idx="37">
                  <c:v>8155</c:v>
                </c:pt>
                <c:pt idx="38">
                  <c:v>8155</c:v>
                </c:pt>
                <c:pt idx="39">
                  <c:v>8155</c:v>
                </c:pt>
                <c:pt idx="40">
                  <c:v>8155</c:v>
                </c:pt>
                <c:pt idx="41">
                  <c:v>8155</c:v>
                </c:pt>
                <c:pt idx="42">
                  <c:v>8155</c:v>
                </c:pt>
                <c:pt idx="43">
                  <c:v>8155</c:v>
                </c:pt>
                <c:pt idx="44">
                  <c:v>8155</c:v>
                </c:pt>
                <c:pt idx="45">
                  <c:v>8155</c:v>
                </c:pt>
                <c:pt idx="46">
                  <c:v>8155</c:v>
                </c:pt>
                <c:pt idx="47">
                  <c:v>8155</c:v>
                </c:pt>
                <c:pt idx="48">
                  <c:v>8155</c:v>
                </c:pt>
                <c:pt idx="49">
                  <c:v>8155</c:v>
                </c:pt>
                <c:pt idx="50">
                  <c:v>8155</c:v>
                </c:pt>
                <c:pt idx="51">
                  <c:v>8155</c:v>
                </c:pt>
                <c:pt idx="52">
                  <c:v>8155</c:v>
                </c:pt>
                <c:pt idx="53">
                  <c:v>8155</c:v>
                </c:pt>
                <c:pt idx="54">
                  <c:v>8155</c:v>
                </c:pt>
                <c:pt idx="55">
                  <c:v>8155</c:v>
                </c:pt>
                <c:pt idx="56">
                  <c:v>8155</c:v>
                </c:pt>
                <c:pt idx="57">
                  <c:v>8155</c:v>
                </c:pt>
                <c:pt idx="58">
                  <c:v>8155</c:v>
                </c:pt>
                <c:pt idx="59">
                  <c:v>8155</c:v>
                </c:pt>
                <c:pt idx="60">
                  <c:v>8155</c:v>
                </c:pt>
                <c:pt idx="61">
                  <c:v>8155</c:v>
                </c:pt>
                <c:pt idx="62">
                  <c:v>8155</c:v>
                </c:pt>
                <c:pt idx="63">
                  <c:v>8155</c:v>
                </c:pt>
                <c:pt idx="64">
                  <c:v>8155</c:v>
                </c:pt>
                <c:pt idx="65">
                  <c:v>8155</c:v>
                </c:pt>
                <c:pt idx="66">
                  <c:v>8155</c:v>
                </c:pt>
                <c:pt idx="67">
                  <c:v>8155</c:v>
                </c:pt>
                <c:pt idx="68">
                  <c:v>8155</c:v>
                </c:pt>
                <c:pt idx="69">
                  <c:v>8155</c:v>
                </c:pt>
                <c:pt idx="70">
                  <c:v>8155</c:v>
                </c:pt>
                <c:pt idx="71">
                  <c:v>8155</c:v>
                </c:pt>
                <c:pt idx="72">
                  <c:v>81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8DC-4595-A177-B1F41A5E4A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catAx>
        <c:axId val="298003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Algn val="ctr"/>
        <c:lblOffset val="100"/>
        <c:tickLblSkip val="1"/>
        <c:noMultiLvlLbl val="1"/>
      </c:cat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A$7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7:$BV$7</c:f>
              <c:numCache>
                <c:formatCode>#,##0</c:formatCode>
                <c:ptCount val="73"/>
                <c:pt idx="0">
                  <c:v>947</c:v>
                </c:pt>
                <c:pt idx="1">
                  <c:v>957</c:v>
                </c:pt>
                <c:pt idx="2">
                  <c:v>1002</c:v>
                </c:pt>
                <c:pt idx="3">
                  <c:v>1088</c:v>
                </c:pt>
                <c:pt idx="4">
                  <c:v>1109</c:v>
                </c:pt>
                <c:pt idx="5">
                  <c:v>1147</c:v>
                </c:pt>
                <c:pt idx="6">
                  <c:v>1146</c:v>
                </c:pt>
                <c:pt idx="7">
                  <c:v>1140</c:v>
                </c:pt>
                <c:pt idx="8">
                  <c:v>1145</c:v>
                </c:pt>
                <c:pt idx="9">
                  <c:v>1171</c:v>
                </c:pt>
                <c:pt idx="10">
                  <c:v>1184</c:v>
                </c:pt>
                <c:pt idx="11">
                  <c:v>1169</c:v>
                </c:pt>
                <c:pt idx="12">
                  <c:v>1167</c:v>
                </c:pt>
                <c:pt idx="13">
                  <c:v>1175</c:v>
                </c:pt>
                <c:pt idx="14">
                  <c:v>1166</c:v>
                </c:pt>
                <c:pt idx="15">
                  <c:v>1155</c:v>
                </c:pt>
                <c:pt idx="16">
                  <c:v>1127</c:v>
                </c:pt>
                <c:pt idx="17">
                  <c:v>1152</c:v>
                </c:pt>
                <c:pt idx="18">
                  <c:v>1133</c:v>
                </c:pt>
                <c:pt idx="19">
                  <c:v>1107</c:v>
                </c:pt>
                <c:pt idx="20">
                  <c:v>1100</c:v>
                </c:pt>
                <c:pt idx="21">
                  <c:v>1105</c:v>
                </c:pt>
                <c:pt idx="22">
                  <c:v>1087</c:v>
                </c:pt>
                <c:pt idx="23">
                  <c:v>1055</c:v>
                </c:pt>
                <c:pt idx="24">
                  <c:v>1077</c:v>
                </c:pt>
                <c:pt idx="25">
                  <c:v>1045</c:v>
                </c:pt>
                <c:pt idx="26">
                  <c:v>1037</c:v>
                </c:pt>
                <c:pt idx="27">
                  <c:v>1017</c:v>
                </c:pt>
                <c:pt idx="28">
                  <c:v>1017</c:v>
                </c:pt>
                <c:pt idx="29">
                  <c:v>1021</c:v>
                </c:pt>
                <c:pt idx="30">
                  <c:v>1039</c:v>
                </c:pt>
                <c:pt idx="31">
                  <c:v>1078</c:v>
                </c:pt>
                <c:pt idx="32">
                  <c:v>1087</c:v>
                </c:pt>
                <c:pt idx="33">
                  <c:v>1076</c:v>
                </c:pt>
                <c:pt idx="34">
                  <c:v>1104</c:v>
                </c:pt>
                <c:pt idx="35">
                  <c:v>1088</c:v>
                </c:pt>
                <c:pt idx="36">
                  <c:v>1072</c:v>
                </c:pt>
                <c:pt idx="37">
                  <c:v>1098</c:v>
                </c:pt>
                <c:pt idx="38">
                  <c:v>1107</c:v>
                </c:pt>
                <c:pt idx="39">
                  <c:v>1091</c:v>
                </c:pt>
                <c:pt idx="40">
                  <c:v>1104</c:v>
                </c:pt>
                <c:pt idx="41">
                  <c:v>1112</c:v>
                </c:pt>
                <c:pt idx="42">
                  <c:v>1108</c:v>
                </c:pt>
                <c:pt idx="43">
                  <c:v>1103</c:v>
                </c:pt>
                <c:pt idx="44">
                  <c:v>1143</c:v>
                </c:pt>
                <c:pt idx="45">
                  <c:v>1166</c:v>
                </c:pt>
                <c:pt idx="46">
                  <c:v>1210</c:v>
                </c:pt>
                <c:pt idx="47">
                  <c:v>1239</c:v>
                </c:pt>
                <c:pt idx="48">
                  <c:v>1266</c:v>
                </c:pt>
                <c:pt idx="49">
                  <c:v>1268</c:v>
                </c:pt>
                <c:pt idx="50">
                  <c:v>1268</c:v>
                </c:pt>
                <c:pt idx="51">
                  <c:v>1280</c:v>
                </c:pt>
                <c:pt idx="52">
                  <c:v>1363</c:v>
                </c:pt>
                <c:pt idx="53">
                  <c:v>1389</c:v>
                </c:pt>
                <c:pt idx="54">
                  <c:v>1404</c:v>
                </c:pt>
                <c:pt idx="55">
                  <c:v>1457</c:v>
                </c:pt>
                <c:pt idx="56">
                  <c:v>1435</c:v>
                </c:pt>
                <c:pt idx="57">
                  <c:v>1460</c:v>
                </c:pt>
                <c:pt idx="58">
                  <c:v>1496</c:v>
                </c:pt>
                <c:pt idx="59">
                  <c:v>1579</c:v>
                </c:pt>
                <c:pt idx="60">
                  <c:v>1592</c:v>
                </c:pt>
                <c:pt idx="61">
                  <c:v>1625</c:v>
                </c:pt>
                <c:pt idx="62">
                  <c:v>1646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25-465A-B9E0-001FB166A0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strRef>
              <c:f>Sheet1!$A$3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3:$BV$3</c:f>
              <c:numCache>
                <c:formatCode>General</c:formatCode>
                <c:ptCount val="73"/>
                <c:pt idx="49" formatCode="#,##0">
                  <c:v>1263.9899755089684</c:v>
                </c:pt>
                <c:pt idx="50" formatCode="#,##0">
                  <c:v>1258.2761990344827</c:v>
                </c:pt>
                <c:pt idx="51" formatCode="#,##0">
                  <c:v>1256.8045604706267</c:v>
                </c:pt>
                <c:pt idx="52" formatCode="#,##0">
                  <c:v>1258.4335612799798</c:v>
                </c:pt>
                <c:pt idx="53" formatCode="#,##0">
                  <c:v>1263.1207560438525</c:v>
                </c:pt>
                <c:pt idx="54" formatCode="#,##0">
                  <c:v>1270.4724322045199</c:v>
                </c:pt>
                <c:pt idx="55" formatCode="#,##0">
                  <c:v>1280.5672628275929</c:v>
                </c:pt>
                <c:pt idx="56" formatCode="#,##0">
                  <c:v>1293.2423955536476</c:v>
                </c:pt>
                <c:pt idx="57" formatCode="#,##0">
                  <c:v>1307.5354864117132</c:v>
                </c:pt>
                <c:pt idx="58" formatCode="#,##0">
                  <c:v>1323.3386329629943</c:v>
                </c:pt>
                <c:pt idx="59" formatCode="#,##0">
                  <c:v>1340.3533827013632</c:v>
                </c:pt>
                <c:pt idx="60" formatCode="#,##0">
                  <c:v>1358.3071463058454</c:v>
                </c:pt>
                <c:pt idx="61" formatCode="#,##0">
                  <c:v>1377.4303948170698</c:v>
                </c:pt>
                <c:pt idx="62" formatCode="#,##0">
                  <c:v>1398.0211588006314</c:v>
                </c:pt>
                <c:pt idx="63" formatCode="#,##0">
                  <c:v>1419.8026003118712</c:v>
                </c:pt>
                <c:pt idx="64" formatCode="#,##0">
                  <c:v>1443.0336549807739</c:v>
                </c:pt>
                <c:pt idx="65" formatCode="#,##0">
                  <c:v>1466.9370080432766</c:v>
                </c:pt>
                <c:pt idx="66" formatCode="#,##0">
                  <c:v>1491.8673318589215</c:v>
                </c:pt>
                <c:pt idx="67" formatCode="#,##0">
                  <c:v>1517.4460174076348</c:v>
                </c:pt>
                <c:pt idx="68" formatCode="#,##0">
                  <c:v>1543.9338720763717</c:v>
                </c:pt>
                <c:pt idx="69" formatCode="#,##0">
                  <c:v>1571.3225092260045</c:v>
                </c:pt>
                <c:pt idx="70" formatCode="#,##0">
                  <c:v>1599.6661258209754</c:v>
                </c:pt>
                <c:pt idx="71" formatCode="#,##0">
                  <c:v>1628.8995944396643</c:v>
                </c:pt>
                <c:pt idx="72" formatCode="#,##0">
                  <c:v>1658.70882781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D25-465A-B9E0-001FB166A07C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4:$BV$4</c:f>
              <c:numCache>
                <c:formatCode>General</c:formatCode>
                <c:ptCount val="73"/>
                <c:pt idx="49" formatCode="#,##0">
                  <c:v>1263.9899755089684</c:v>
                </c:pt>
                <c:pt idx="50" formatCode="#,##0">
                  <c:v>1259.8890879504943</c:v>
                </c:pt>
                <c:pt idx="51" formatCode="#,##0">
                  <c:v>1261.4771050188704</c:v>
                </c:pt>
                <c:pt idx="52" formatCode="#,##0">
                  <c:v>1267.2746774216992</c:v>
                </c:pt>
                <c:pt idx="53" formatCode="#,##0">
                  <c:v>1277.0198453066496</c:v>
                </c:pt>
                <c:pt idx="54" formatCode="#,##0">
                  <c:v>1290.6165871827704</c:v>
                </c:pt>
                <c:pt idx="55" formatCode="#,##0">
                  <c:v>1308.4510393502189</c:v>
                </c:pt>
                <c:pt idx="56" formatCode="#,##0">
                  <c:v>1330.589108425246</c:v>
                </c:pt>
                <c:pt idx="57" formatCode="#,##0">
                  <c:v>1356.2273294246006</c:v>
                </c:pt>
                <c:pt idx="58" formatCode="#,##0">
                  <c:v>1385.0298307131129</c:v>
                </c:pt>
                <c:pt idx="59" formatCode="#,##0">
                  <c:v>1416.5895330943545</c:v>
                </c:pt>
                <c:pt idx="60" formatCode="#,##0">
                  <c:v>1450.7251978706001</c:v>
                </c:pt>
                <c:pt idx="61" formatCode="#,##0">
                  <c:v>1487.8681648313056</c:v>
                </c:pt>
                <c:pt idx="62" formatCode="#,##0">
                  <c:v>1528.3780613107813</c:v>
                </c:pt>
                <c:pt idx="63" formatCode="#,##0">
                  <c:v>1571.9284528826586</c:v>
                </c:pt>
                <c:pt idx="64" formatCode="#,##0">
                  <c:v>1618.7079037215026</c:v>
                </c:pt>
                <c:pt idx="65" formatCode="#,##0">
                  <c:v>1667.896550231874</c:v>
                </c:pt>
                <c:pt idx="66" formatCode="#,##0">
                  <c:v>1719.9138060746811</c:v>
                </c:pt>
                <c:pt idx="67" formatCode="#,##0">
                  <c:v>1774.4792267261992</c:v>
                </c:pt>
                <c:pt idx="68" formatCode="#,##0">
                  <c:v>1831.9070516616055</c:v>
                </c:pt>
                <c:pt idx="69" formatCode="#,##0">
                  <c:v>1892.1593282882293</c:v>
                </c:pt>
                <c:pt idx="70" formatCode="#,##0">
                  <c:v>1955.2716624467414</c:v>
                </c:pt>
                <c:pt idx="71" formatCode="#,##0">
                  <c:v>2021.1970184746297</c:v>
                </c:pt>
                <c:pt idx="72" formatCode="#,##0">
                  <c:v>2089.692565171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D25-465A-B9E0-001FB166A07C}"/>
            </c:ext>
          </c:extLst>
        </c:ser>
        <c:ser>
          <c:idx val="0"/>
          <c:order val="2"/>
          <c:tx>
            <c:strRef>
              <c:f>Sheet1!$A$5</c:f>
              <c:strCache>
                <c:ptCount val="1"/>
                <c:pt idx="0">
                  <c:v>1,3</c:v>
                </c:pt>
              </c:strCache>
            </c:strRef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5:$BV$5</c:f>
              <c:numCache>
                <c:formatCode>General</c:formatCode>
                <c:ptCount val="73"/>
                <c:pt idx="49" formatCode="#,##0">
                  <c:v>1263.9899755089684</c:v>
                </c:pt>
                <c:pt idx="50" formatCode="#,##0">
                  <c:v>1261.4980620875831</c:v>
                </c:pt>
                <c:pt idx="51" formatCode="#,##0">
                  <c:v>1266.1485134700611</c:v>
                </c:pt>
                <c:pt idx="52" formatCode="#,##0">
                  <c:v>1276.119178971066</c:v>
                </c:pt>
                <c:pt idx="53" formatCode="#,##0">
                  <c:v>1290.9156959706504</c:v>
                </c:pt>
                <c:pt idx="54" formatCode="#,##0">
                  <c:v>1310.8380995624921</c:v>
                </c:pt>
                <c:pt idx="55" formatCode="#,##0">
                  <c:v>1336.6429999362601</c:v>
                </c:pt>
                <c:pt idx="56" formatCode="#,##0">
                  <c:v>1368.6906227945497</c:v>
                </c:pt>
                <c:pt idx="57" formatCode="#,##0">
                  <c:v>1406.3646278076546</c:v>
                </c:pt>
                <c:pt idx="58" formatCode="#,##0">
                  <c:v>1449.1188088282217</c:v>
                </c:pt>
                <c:pt idx="59" formatCode="#,##0">
                  <c:v>1496.4866115481436</c:v>
                </c:pt>
                <c:pt idx="60" formatCode="#,##0">
                  <c:v>1548.4692616138425</c:v>
                </c:pt>
                <c:pt idx="61" formatCode="#,##0">
                  <c:v>1605.8474597215072</c:v>
                </c:pt>
                <c:pt idx="62" formatCode="#,##0">
                  <c:v>1669.1085394887302</c:v>
                </c:pt>
                <c:pt idx="63" formatCode="#,##0">
                  <c:v>1737.9363594993367</c:v>
                </c:pt>
                <c:pt idx="64" formatCode="#,##0">
                  <c:v>1812.5029199008607</c:v>
                </c:pt>
                <c:pt idx="65" formatCode="#,##0">
                  <c:v>1892.0433765655366</c:v>
                </c:pt>
                <c:pt idx="66" formatCode="#,##0">
                  <c:v>1977.1759757529937</c:v>
                </c:pt>
                <c:pt idx="67" formatCode="#,##0">
                  <c:v>2067.8427717103227</c:v>
                </c:pt>
                <c:pt idx="68" formatCode="#,##0">
                  <c:v>2164.5257443758469</c:v>
                </c:pt>
                <c:pt idx="69" formatCode="#,##0">
                  <c:v>2267.2571045649911</c:v>
                </c:pt>
                <c:pt idx="70" formatCode="#,##0">
                  <c:v>2376.1468121892744</c:v>
                </c:pt>
                <c:pt idx="71" formatCode="#,##0">
                  <c:v>2491.3130111066994</c:v>
                </c:pt>
                <c:pt idx="72" formatCode="#,##0">
                  <c:v>2612.73872055599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D25-465A-B9E0-001FB166A07C}"/>
            </c:ext>
          </c:extLst>
        </c:ser>
        <c:ser>
          <c:idx val="4"/>
          <c:order val="3"/>
          <c:tx>
            <c:strRef>
              <c:f>Sheet1!$A$6</c:f>
              <c:strCache>
                <c:ptCount val="1"/>
                <c:pt idx="0">
                  <c:v>x</c:v>
                </c:pt>
              </c:strCache>
            </c:strRef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6:$BV$6</c:f>
              <c:numCache>
                <c:formatCode>#,##0</c:formatCode>
                <c:ptCount val="73"/>
                <c:pt idx="0">
                  <c:v>1209</c:v>
                </c:pt>
                <c:pt idx="1">
                  <c:v>1209</c:v>
                </c:pt>
                <c:pt idx="2">
                  <c:v>1209</c:v>
                </c:pt>
                <c:pt idx="3">
                  <c:v>1209</c:v>
                </c:pt>
                <c:pt idx="4">
                  <c:v>1209</c:v>
                </c:pt>
                <c:pt idx="5">
                  <c:v>1209</c:v>
                </c:pt>
                <c:pt idx="6">
                  <c:v>1209</c:v>
                </c:pt>
                <c:pt idx="7">
                  <c:v>1209</c:v>
                </c:pt>
                <c:pt idx="8">
                  <c:v>1209</c:v>
                </c:pt>
                <c:pt idx="9">
                  <c:v>1209</c:v>
                </c:pt>
                <c:pt idx="10">
                  <c:v>1209</c:v>
                </c:pt>
                <c:pt idx="11">
                  <c:v>1209</c:v>
                </c:pt>
                <c:pt idx="12">
                  <c:v>1209</c:v>
                </c:pt>
                <c:pt idx="13">
                  <c:v>1209</c:v>
                </c:pt>
                <c:pt idx="14">
                  <c:v>1209</c:v>
                </c:pt>
                <c:pt idx="15">
                  <c:v>1209</c:v>
                </c:pt>
                <c:pt idx="16">
                  <c:v>1209</c:v>
                </c:pt>
                <c:pt idx="17">
                  <c:v>1209</c:v>
                </c:pt>
                <c:pt idx="18">
                  <c:v>1209</c:v>
                </c:pt>
                <c:pt idx="19">
                  <c:v>1209</c:v>
                </c:pt>
                <c:pt idx="20">
                  <c:v>1209</c:v>
                </c:pt>
                <c:pt idx="21">
                  <c:v>1209</c:v>
                </c:pt>
                <c:pt idx="22">
                  <c:v>1209</c:v>
                </c:pt>
                <c:pt idx="23">
                  <c:v>1209</c:v>
                </c:pt>
                <c:pt idx="24">
                  <c:v>1209</c:v>
                </c:pt>
                <c:pt idx="25">
                  <c:v>1209</c:v>
                </c:pt>
                <c:pt idx="26">
                  <c:v>1209</c:v>
                </c:pt>
                <c:pt idx="27">
                  <c:v>1209</c:v>
                </c:pt>
                <c:pt idx="28">
                  <c:v>1209</c:v>
                </c:pt>
                <c:pt idx="29">
                  <c:v>1209</c:v>
                </c:pt>
                <c:pt idx="30">
                  <c:v>1209</c:v>
                </c:pt>
                <c:pt idx="31">
                  <c:v>1209</c:v>
                </c:pt>
                <c:pt idx="32">
                  <c:v>1209</c:v>
                </c:pt>
                <c:pt idx="33">
                  <c:v>1209</c:v>
                </c:pt>
                <c:pt idx="34">
                  <c:v>1209</c:v>
                </c:pt>
                <c:pt idx="35">
                  <c:v>1209</c:v>
                </c:pt>
                <c:pt idx="36">
                  <c:v>1209</c:v>
                </c:pt>
                <c:pt idx="37">
                  <c:v>1209</c:v>
                </c:pt>
                <c:pt idx="38">
                  <c:v>1209</c:v>
                </c:pt>
                <c:pt idx="39">
                  <c:v>1209</c:v>
                </c:pt>
                <c:pt idx="40">
                  <c:v>1209</c:v>
                </c:pt>
                <c:pt idx="41">
                  <c:v>1209</c:v>
                </c:pt>
                <c:pt idx="42">
                  <c:v>1209</c:v>
                </c:pt>
                <c:pt idx="43">
                  <c:v>1209</c:v>
                </c:pt>
                <c:pt idx="44">
                  <c:v>1209</c:v>
                </c:pt>
                <c:pt idx="45">
                  <c:v>1209</c:v>
                </c:pt>
                <c:pt idx="46">
                  <c:v>1209</c:v>
                </c:pt>
                <c:pt idx="47">
                  <c:v>1209</c:v>
                </c:pt>
                <c:pt idx="48">
                  <c:v>1209</c:v>
                </c:pt>
                <c:pt idx="49">
                  <c:v>1209</c:v>
                </c:pt>
                <c:pt idx="50">
                  <c:v>1209</c:v>
                </c:pt>
                <c:pt idx="51">
                  <c:v>1209</c:v>
                </c:pt>
                <c:pt idx="52">
                  <c:v>1209</c:v>
                </c:pt>
                <c:pt idx="53">
                  <c:v>1209</c:v>
                </c:pt>
                <c:pt idx="54">
                  <c:v>1209</c:v>
                </c:pt>
                <c:pt idx="55">
                  <c:v>1209</c:v>
                </c:pt>
                <c:pt idx="56">
                  <c:v>1209</c:v>
                </c:pt>
                <c:pt idx="57">
                  <c:v>1209</c:v>
                </c:pt>
                <c:pt idx="58">
                  <c:v>1209</c:v>
                </c:pt>
                <c:pt idx="59">
                  <c:v>1209</c:v>
                </c:pt>
                <c:pt idx="60">
                  <c:v>1209</c:v>
                </c:pt>
                <c:pt idx="61">
                  <c:v>1209</c:v>
                </c:pt>
                <c:pt idx="62">
                  <c:v>1209</c:v>
                </c:pt>
                <c:pt idx="63">
                  <c:v>1209</c:v>
                </c:pt>
                <c:pt idx="64">
                  <c:v>1209</c:v>
                </c:pt>
                <c:pt idx="65">
                  <c:v>1209</c:v>
                </c:pt>
                <c:pt idx="66">
                  <c:v>1209</c:v>
                </c:pt>
                <c:pt idx="67">
                  <c:v>1209</c:v>
                </c:pt>
                <c:pt idx="68">
                  <c:v>1209</c:v>
                </c:pt>
                <c:pt idx="69">
                  <c:v>1209</c:v>
                </c:pt>
                <c:pt idx="70">
                  <c:v>1209</c:v>
                </c:pt>
                <c:pt idx="71">
                  <c:v>1209</c:v>
                </c:pt>
                <c:pt idx="72">
                  <c:v>1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D25-465A-B9E0-001FB166A0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catAx>
        <c:axId val="298003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Algn val="ctr"/>
        <c:lblOffset val="100"/>
        <c:tickLblSkip val="1"/>
        <c:noMultiLvlLbl val="1"/>
      </c:cat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644</c:v>
                </c:pt>
                <c:pt idx="1">
                  <c:v>5949</c:v>
                </c:pt>
                <c:pt idx="2">
                  <c:v>6262</c:v>
                </c:pt>
                <c:pt idx="3">
                  <c:v>7203</c:v>
                </c:pt>
                <c:pt idx="4">
                  <c:v>7383</c:v>
                </c:pt>
                <c:pt idx="5">
                  <c:v>7373</c:v>
                </c:pt>
                <c:pt idx="6">
                  <c:v>7512</c:v>
                </c:pt>
                <c:pt idx="7">
                  <c:v>7306</c:v>
                </c:pt>
                <c:pt idx="8">
                  <c:v>6729</c:v>
                </c:pt>
                <c:pt idx="9">
                  <c:v>6839</c:v>
                </c:pt>
                <c:pt idx="10">
                  <c:v>7379</c:v>
                </c:pt>
                <c:pt idx="11">
                  <c:v>7433</c:v>
                </c:pt>
                <c:pt idx="12">
                  <c:v>7260</c:v>
                </c:pt>
                <c:pt idx="13">
                  <c:v>7183</c:v>
                </c:pt>
                <c:pt idx="14">
                  <c:v>7096</c:v>
                </c:pt>
                <c:pt idx="15">
                  <c:v>6473</c:v>
                </c:pt>
                <c:pt idx="16">
                  <c:v>6439</c:v>
                </c:pt>
                <c:pt idx="17">
                  <c:v>6927</c:v>
                </c:pt>
                <c:pt idx="18">
                  <c:v>6643</c:v>
                </c:pt>
                <c:pt idx="19">
                  <c:v>6474</c:v>
                </c:pt>
                <c:pt idx="20">
                  <c:v>6353</c:v>
                </c:pt>
                <c:pt idx="21">
                  <c:v>6330</c:v>
                </c:pt>
                <c:pt idx="22">
                  <c:v>5828</c:v>
                </c:pt>
                <c:pt idx="23">
                  <c:v>5868</c:v>
                </c:pt>
                <c:pt idx="24">
                  <c:v>6290</c:v>
                </c:pt>
                <c:pt idx="25">
                  <c:v>6253</c:v>
                </c:pt>
                <c:pt idx="26">
                  <c:v>6097</c:v>
                </c:pt>
                <c:pt idx="27">
                  <c:v>5989</c:v>
                </c:pt>
                <c:pt idx="28">
                  <c:v>5933</c:v>
                </c:pt>
                <c:pt idx="29">
                  <c:v>5493</c:v>
                </c:pt>
                <c:pt idx="30">
                  <c:v>5540</c:v>
                </c:pt>
                <c:pt idx="31">
                  <c:v>6067</c:v>
                </c:pt>
                <c:pt idx="32">
                  <c:v>5958</c:v>
                </c:pt>
                <c:pt idx="33">
                  <c:v>5928</c:v>
                </c:pt>
                <c:pt idx="34">
                  <c:v>5953</c:v>
                </c:pt>
                <c:pt idx="35">
                  <c:v>5936</c:v>
                </c:pt>
                <c:pt idx="36">
                  <c:v>5605</c:v>
                </c:pt>
                <c:pt idx="37">
                  <c:v>5746</c:v>
                </c:pt>
                <c:pt idx="38">
                  <c:v>6161</c:v>
                </c:pt>
                <c:pt idx="39">
                  <c:v>6095</c:v>
                </c:pt>
                <c:pt idx="40">
                  <c:v>6015</c:v>
                </c:pt>
                <c:pt idx="41">
                  <c:v>5992</c:v>
                </c:pt>
                <c:pt idx="42">
                  <c:v>5926</c:v>
                </c:pt>
                <c:pt idx="43">
                  <c:v>5620</c:v>
                </c:pt>
                <c:pt idx="44">
                  <c:v>5833</c:v>
                </c:pt>
                <c:pt idx="45">
                  <c:v>6317</c:v>
                </c:pt>
                <c:pt idx="46">
                  <c:v>6350</c:v>
                </c:pt>
                <c:pt idx="47">
                  <c:v>6435</c:v>
                </c:pt>
                <c:pt idx="48">
                  <c:v>6533</c:v>
                </c:pt>
                <c:pt idx="49">
                  <c:v>6548</c:v>
                </c:pt>
                <c:pt idx="50">
                  <c:v>6148</c:v>
                </c:pt>
                <c:pt idx="51">
                  <c:v>6355</c:v>
                </c:pt>
                <c:pt idx="52">
                  <c:v>7051</c:v>
                </c:pt>
                <c:pt idx="53">
                  <c:v>7084</c:v>
                </c:pt>
                <c:pt idx="54">
                  <c:v>7176</c:v>
                </c:pt>
                <c:pt idx="55">
                  <c:v>7392</c:v>
                </c:pt>
                <c:pt idx="56">
                  <c:v>7488</c:v>
                </c:pt>
                <c:pt idx="57">
                  <c:v>7193</c:v>
                </c:pt>
                <c:pt idx="58">
                  <c:v>7456</c:v>
                </c:pt>
                <c:pt idx="59">
                  <c:v>8272</c:v>
                </c:pt>
                <c:pt idx="60">
                  <c:v>8451</c:v>
                </c:pt>
                <c:pt idx="61">
                  <c:v>8392</c:v>
                </c:pt>
                <c:pt idx="62">
                  <c:v>8395</c:v>
                </c:pt>
                <c:pt idx="63">
                  <c:v>8453</c:v>
                </c:pt>
                <c:pt idx="64">
                  <c:v>8110</c:v>
                </c:pt>
                <c:pt idx="65">
                  <c:v>8335</c:v>
                </c:pt>
                <c:pt idx="66">
                  <c:v>9009</c:v>
                </c:pt>
                <c:pt idx="67">
                  <c:v>8977</c:v>
                </c:pt>
                <c:pt idx="68">
                  <c:v>8997</c:v>
                </c:pt>
                <c:pt idx="69">
                  <c:v>8962</c:v>
                </c:pt>
                <c:pt idx="70">
                  <c:v>8933</c:v>
                </c:pt>
                <c:pt idx="71">
                  <c:v>8529</c:v>
                </c:pt>
                <c:pt idx="72">
                  <c:v>8745</c:v>
                </c:pt>
                <c:pt idx="73">
                  <c:v>9457</c:v>
                </c:pt>
                <c:pt idx="74">
                  <c:v>9328</c:v>
                </c:pt>
                <c:pt idx="75">
                  <c:v>9166</c:v>
                </c:pt>
                <c:pt idx="76">
                  <c:v>8963</c:v>
                </c:pt>
                <c:pt idx="77">
                  <c:v>8773</c:v>
                </c:pt>
                <c:pt idx="78">
                  <c:v>8219</c:v>
                </c:pt>
                <c:pt idx="79">
                  <c:v>8335</c:v>
                </c:pt>
                <c:pt idx="80">
                  <c:v>8973</c:v>
                </c:pt>
                <c:pt idx="81">
                  <c:v>8639</c:v>
                </c:pt>
                <c:pt idx="82">
                  <c:v>8321</c:v>
                </c:pt>
                <c:pt idx="83">
                  <c:v>8167</c:v>
                </c:pt>
                <c:pt idx="84">
                  <c:v>8043</c:v>
                </c:pt>
                <c:pt idx="85">
                  <c:v>7525</c:v>
                </c:pt>
                <c:pt idx="86">
                  <c:v>7578</c:v>
                </c:pt>
                <c:pt idx="87">
                  <c:v>8124</c:v>
                </c:pt>
                <c:pt idx="88">
                  <c:v>7840</c:v>
                </c:pt>
                <c:pt idx="89">
                  <c:v>7486</c:v>
                </c:pt>
                <c:pt idx="90">
                  <c:v>7037</c:v>
                </c:pt>
                <c:pt idx="91">
                  <c:v>6518</c:v>
                </c:pt>
                <c:pt idx="92">
                  <c:v>6458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8885.2017813608909</c:v>
                </c:pt>
                <c:pt idx="71">
                  <c:v>8789.2983738304101</c:v>
                </c:pt>
                <c:pt idx="72">
                  <c:v>8680.0445932863204</c:v>
                </c:pt>
                <c:pt idx="73">
                  <c:v>8554.7381207630624</c:v>
                </c:pt>
                <c:pt idx="74">
                  <c:v>8408.8923040966092</c:v>
                </c:pt>
                <c:pt idx="75">
                  <c:v>8251.0525535248598</c:v>
                </c:pt>
                <c:pt idx="76">
                  <c:v>8083.6483566379029</c:v>
                </c:pt>
                <c:pt idx="77">
                  <c:v>7904.5877680697249</c:v>
                </c:pt>
                <c:pt idx="78">
                  <c:v>7714.5819495476862</c:v>
                </c:pt>
                <c:pt idx="79">
                  <c:v>7516.1431878296744</c:v>
                </c:pt>
                <c:pt idx="80">
                  <c:v>7311.4138660891886</c:v>
                </c:pt>
                <c:pt idx="81">
                  <c:v>7101.6097399470927</c:v>
                </c:pt>
                <c:pt idx="82">
                  <c:v>6890.5496923478768</c:v>
                </c:pt>
                <c:pt idx="83">
                  <c:v>6679.4870550062587</c:v>
                </c:pt>
                <c:pt idx="84">
                  <c:v>6469.9435906098106</c:v>
                </c:pt>
                <c:pt idx="85">
                  <c:v>6262.3992024446397</c:v>
                </c:pt>
                <c:pt idx="86">
                  <c:v>6056.8930947455165</c:v>
                </c:pt>
                <c:pt idx="87">
                  <c:v>5852.0436900082404</c:v>
                </c:pt>
                <c:pt idx="88">
                  <c:v>5648.698596585843</c:v>
                </c:pt>
                <c:pt idx="89">
                  <c:v>5449.0603992986353</c:v>
                </c:pt>
                <c:pt idx="90">
                  <c:v>5253.902497155701</c:v>
                </c:pt>
                <c:pt idx="91">
                  <c:v>5063.9659919975938</c:v>
                </c:pt>
                <c:pt idx="92">
                  <c:v>4879.022239140897</c:v>
                </c:pt>
                <c:pt idx="93">
                  <c:v>4699.4279125881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8930.6771307836261</c:v>
                </c:pt>
                <c:pt idx="71">
                  <c:v>8895.6229458229427</c:v>
                </c:pt>
                <c:pt idx="72">
                  <c:v>8857.120390381182</c:v>
                </c:pt>
                <c:pt idx="73">
                  <c:v>8812.2838174044045</c:v>
                </c:pt>
                <c:pt idx="74">
                  <c:v>8756.5034475521024</c:v>
                </c:pt>
                <c:pt idx="75">
                  <c:v>8695.3978636164429</c:v>
                </c:pt>
                <c:pt idx="76">
                  <c:v>8629.2554061141691</c:v>
                </c:pt>
                <c:pt idx="77">
                  <c:v>8555.1353544055837</c:v>
                </c:pt>
                <c:pt idx="78">
                  <c:v>8473.2768279380361</c:v>
                </c:pt>
                <c:pt idx="79">
                  <c:v>8385.3979832078367</c:v>
                </c:pt>
                <c:pt idx="80">
                  <c:v>8292.0092822116585</c:v>
                </c:pt>
                <c:pt idx="81">
                  <c:v>8192.1989820014023</c:v>
                </c:pt>
                <c:pt idx="82">
                  <c:v>8088.5194157191781</c:v>
                </c:pt>
                <c:pt idx="83">
                  <c:v>7982.0277666845323</c:v>
                </c:pt>
                <c:pt idx="84">
                  <c:v>7873.9759655270745</c:v>
                </c:pt>
                <c:pt idx="85">
                  <c:v>7764.4396407880522</c:v>
                </c:pt>
                <c:pt idx="86">
                  <c:v>7653.1305802850693</c:v>
                </c:pt>
                <c:pt idx="87">
                  <c:v>7538.4545088366785</c:v>
                </c:pt>
                <c:pt idx="88">
                  <c:v>7421.1563026576359</c:v>
                </c:pt>
                <c:pt idx="89">
                  <c:v>7303.3025375368961</c:v>
                </c:pt>
                <c:pt idx="90">
                  <c:v>7185.5188995325652</c:v>
                </c:pt>
                <c:pt idx="91">
                  <c:v>7068.3429569643231</c:v>
                </c:pt>
                <c:pt idx="92">
                  <c:v>6951.5004399780792</c:v>
                </c:pt>
                <c:pt idx="93">
                  <c:v>6835.4157862169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021.6278296291002</c:v>
                </c:pt>
                <c:pt idx="71">
                  <c:v>9111.4734926935798</c:v>
                </c:pt>
                <c:pt idx="72">
                  <c:v>9223.3618732678024</c:v>
                </c:pt>
                <c:pt idx="73">
                  <c:v>9355.7922884998097</c:v>
                </c:pt>
                <c:pt idx="74">
                  <c:v>9504.6715300092292</c:v>
                </c:pt>
                <c:pt idx="75">
                  <c:v>9668.4110537690249</c:v>
                </c:pt>
                <c:pt idx="76">
                  <c:v>9843.2878778518789</c:v>
                </c:pt>
                <c:pt idx="77">
                  <c:v>10026.631970941162</c:v>
                </c:pt>
                <c:pt idx="78">
                  <c:v>10220.319279251029</c:v>
                </c:pt>
                <c:pt idx="79">
                  <c:v>10425.234541688988</c:v>
                </c:pt>
                <c:pt idx="80">
                  <c:v>10638.466857340301</c:v>
                </c:pt>
                <c:pt idx="81">
                  <c:v>10854.115108492293</c:v>
                </c:pt>
                <c:pt idx="82">
                  <c:v>11072.293037962707</c:v>
                </c:pt>
                <c:pt idx="83">
                  <c:v>11294.447377160723</c:v>
                </c:pt>
                <c:pt idx="84">
                  <c:v>11522.323521347902</c:v>
                </c:pt>
                <c:pt idx="85">
                  <c:v>11755.403334393257</c:v>
                </c:pt>
                <c:pt idx="86">
                  <c:v>11992.080953281307</c:v>
                </c:pt>
                <c:pt idx="87">
                  <c:v>12229.782337846615</c:v>
                </c:pt>
                <c:pt idx="88">
                  <c:v>12468.972049394213</c:v>
                </c:pt>
                <c:pt idx="89">
                  <c:v>12711.72515643286</c:v>
                </c:pt>
                <c:pt idx="90">
                  <c:v>12958.553006894403</c:v>
                </c:pt>
                <c:pt idx="91">
                  <c:v>13209.434139067271</c:v>
                </c:pt>
                <c:pt idx="92">
                  <c:v>13463.376723093259</c:v>
                </c:pt>
                <c:pt idx="93">
                  <c:v>13720.6930474014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6</c:v>
                </c:pt>
                <c:pt idx="1">
                  <c:v>8156</c:v>
                </c:pt>
                <c:pt idx="2">
                  <c:v>8156</c:v>
                </c:pt>
                <c:pt idx="3">
                  <c:v>8156</c:v>
                </c:pt>
                <c:pt idx="4">
                  <c:v>8156</c:v>
                </c:pt>
                <c:pt idx="5">
                  <c:v>8156</c:v>
                </c:pt>
                <c:pt idx="6">
                  <c:v>8156</c:v>
                </c:pt>
                <c:pt idx="7">
                  <c:v>8156</c:v>
                </c:pt>
                <c:pt idx="8">
                  <c:v>8156</c:v>
                </c:pt>
                <c:pt idx="9">
                  <c:v>8156</c:v>
                </c:pt>
                <c:pt idx="10">
                  <c:v>8156</c:v>
                </c:pt>
                <c:pt idx="11">
                  <c:v>8156</c:v>
                </c:pt>
                <c:pt idx="12">
                  <c:v>8156</c:v>
                </c:pt>
                <c:pt idx="13">
                  <c:v>8156</c:v>
                </c:pt>
                <c:pt idx="14">
                  <c:v>8156</c:v>
                </c:pt>
                <c:pt idx="15">
                  <c:v>8156</c:v>
                </c:pt>
                <c:pt idx="16">
                  <c:v>8156</c:v>
                </c:pt>
                <c:pt idx="17">
                  <c:v>8156</c:v>
                </c:pt>
                <c:pt idx="18">
                  <c:v>8156</c:v>
                </c:pt>
                <c:pt idx="19">
                  <c:v>8156</c:v>
                </c:pt>
                <c:pt idx="20">
                  <c:v>8156</c:v>
                </c:pt>
                <c:pt idx="21">
                  <c:v>8156</c:v>
                </c:pt>
                <c:pt idx="22">
                  <c:v>8156</c:v>
                </c:pt>
                <c:pt idx="23">
                  <c:v>8156</c:v>
                </c:pt>
                <c:pt idx="24">
                  <c:v>8156</c:v>
                </c:pt>
                <c:pt idx="25">
                  <c:v>8156</c:v>
                </c:pt>
                <c:pt idx="26">
                  <c:v>8156</c:v>
                </c:pt>
                <c:pt idx="27">
                  <c:v>8156</c:v>
                </c:pt>
                <c:pt idx="28">
                  <c:v>8156</c:v>
                </c:pt>
                <c:pt idx="29">
                  <c:v>8156</c:v>
                </c:pt>
                <c:pt idx="30">
                  <c:v>8156</c:v>
                </c:pt>
                <c:pt idx="31">
                  <c:v>8156</c:v>
                </c:pt>
                <c:pt idx="32">
                  <c:v>8156</c:v>
                </c:pt>
                <c:pt idx="33">
                  <c:v>8156</c:v>
                </c:pt>
                <c:pt idx="34">
                  <c:v>8156</c:v>
                </c:pt>
                <c:pt idx="35">
                  <c:v>8156</c:v>
                </c:pt>
                <c:pt idx="36">
                  <c:v>8156</c:v>
                </c:pt>
                <c:pt idx="37">
                  <c:v>8156</c:v>
                </c:pt>
                <c:pt idx="38">
                  <c:v>8156</c:v>
                </c:pt>
                <c:pt idx="39">
                  <c:v>8156</c:v>
                </c:pt>
                <c:pt idx="40">
                  <c:v>8156</c:v>
                </c:pt>
                <c:pt idx="41">
                  <c:v>8156</c:v>
                </c:pt>
                <c:pt idx="42">
                  <c:v>8156</c:v>
                </c:pt>
                <c:pt idx="43">
                  <c:v>8156</c:v>
                </c:pt>
                <c:pt idx="44">
                  <c:v>8156</c:v>
                </c:pt>
                <c:pt idx="45">
                  <c:v>8156</c:v>
                </c:pt>
                <c:pt idx="46">
                  <c:v>8156</c:v>
                </c:pt>
                <c:pt idx="47">
                  <c:v>8156</c:v>
                </c:pt>
                <c:pt idx="48">
                  <c:v>8156</c:v>
                </c:pt>
                <c:pt idx="49">
                  <c:v>8156</c:v>
                </c:pt>
                <c:pt idx="50">
                  <c:v>8156</c:v>
                </c:pt>
                <c:pt idx="51">
                  <c:v>8156</c:v>
                </c:pt>
                <c:pt idx="52">
                  <c:v>8156</c:v>
                </c:pt>
                <c:pt idx="53">
                  <c:v>8156</c:v>
                </c:pt>
                <c:pt idx="54">
                  <c:v>8156</c:v>
                </c:pt>
                <c:pt idx="55">
                  <c:v>8156</c:v>
                </c:pt>
                <c:pt idx="56">
                  <c:v>8156</c:v>
                </c:pt>
                <c:pt idx="57">
                  <c:v>8156</c:v>
                </c:pt>
                <c:pt idx="58">
                  <c:v>8156</c:v>
                </c:pt>
                <c:pt idx="59">
                  <c:v>8156</c:v>
                </c:pt>
                <c:pt idx="60">
                  <c:v>8156</c:v>
                </c:pt>
                <c:pt idx="61">
                  <c:v>8156</c:v>
                </c:pt>
                <c:pt idx="62">
                  <c:v>8156</c:v>
                </c:pt>
                <c:pt idx="63">
                  <c:v>8156</c:v>
                </c:pt>
                <c:pt idx="64">
                  <c:v>8156</c:v>
                </c:pt>
                <c:pt idx="65">
                  <c:v>8156</c:v>
                </c:pt>
                <c:pt idx="66">
                  <c:v>8156</c:v>
                </c:pt>
                <c:pt idx="67">
                  <c:v>8156</c:v>
                </c:pt>
                <c:pt idx="68">
                  <c:v>8156</c:v>
                </c:pt>
                <c:pt idx="69">
                  <c:v>8156</c:v>
                </c:pt>
                <c:pt idx="70">
                  <c:v>8156</c:v>
                </c:pt>
                <c:pt idx="71">
                  <c:v>8156</c:v>
                </c:pt>
                <c:pt idx="72">
                  <c:v>8156</c:v>
                </c:pt>
                <c:pt idx="73">
                  <c:v>8156</c:v>
                </c:pt>
                <c:pt idx="74">
                  <c:v>8156</c:v>
                </c:pt>
                <c:pt idx="75">
                  <c:v>8156</c:v>
                </c:pt>
                <c:pt idx="76">
                  <c:v>8156</c:v>
                </c:pt>
                <c:pt idx="77">
                  <c:v>8156</c:v>
                </c:pt>
                <c:pt idx="78">
                  <c:v>8156</c:v>
                </c:pt>
                <c:pt idx="79">
                  <c:v>8156</c:v>
                </c:pt>
                <c:pt idx="80">
                  <c:v>8156</c:v>
                </c:pt>
                <c:pt idx="81">
                  <c:v>8156</c:v>
                </c:pt>
                <c:pt idx="82">
                  <c:v>8156</c:v>
                </c:pt>
                <c:pt idx="83">
                  <c:v>8156</c:v>
                </c:pt>
                <c:pt idx="84">
                  <c:v>8156</c:v>
                </c:pt>
                <c:pt idx="85">
                  <c:v>8156</c:v>
                </c:pt>
                <c:pt idx="86">
                  <c:v>8156</c:v>
                </c:pt>
                <c:pt idx="87">
                  <c:v>8156</c:v>
                </c:pt>
                <c:pt idx="88">
                  <c:v>8156</c:v>
                </c:pt>
                <c:pt idx="89">
                  <c:v>8156</c:v>
                </c:pt>
                <c:pt idx="90">
                  <c:v>8156</c:v>
                </c:pt>
                <c:pt idx="91">
                  <c:v>8156</c:v>
                </c:pt>
                <c:pt idx="92">
                  <c:v>8156</c:v>
                </c:pt>
                <c:pt idx="93">
                  <c:v>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48</c:v>
                </c:pt>
                <c:pt idx="1">
                  <c:v>959</c:v>
                </c:pt>
                <c:pt idx="2">
                  <c:v>1004</c:v>
                </c:pt>
                <c:pt idx="3">
                  <c:v>1090</c:v>
                </c:pt>
                <c:pt idx="4">
                  <c:v>1111</c:v>
                </c:pt>
                <c:pt idx="5">
                  <c:v>1149</c:v>
                </c:pt>
                <c:pt idx="6">
                  <c:v>1148</c:v>
                </c:pt>
                <c:pt idx="7">
                  <c:v>1141</c:v>
                </c:pt>
                <c:pt idx="8">
                  <c:v>1148</c:v>
                </c:pt>
                <c:pt idx="9">
                  <c:v>1175</c:v>
                </c:pt>
                <c:pt idx="10">
                  <c:v>1187</c:v>
                </c:pt>
                <c:pt idx="11">
                  <c:v>1173</c:v>
                </c:pt>
                <c:pt idx="12">
                  <c:v>1170</c:v>
                </c:pt>
                <c:pt idx="13">
                  <c:v>1179</c:v>
                </c:pt>
                <c:pt idx="14">
                  <c:v>1168</c:v>
                </c:pt>
                <c:pt idx="15">
                  <c:v>1157</c:v>
                </c:pt>
                <c:pt idx="16">
                  <c:v>1128</c:v>
                </c:pt>
                <c:pt idx="17">
                  <c:v>1153</c:v>
                </c:pt>
                <c:pt idx="18">
                  <c:v>1134</c:v>
                </c:pt>
                <c:pt idx="19">
                  <c:v>1110</c:v>
                </c:pt>
                <c:pt idx="20">
                  <c:v>1104</c:v>
                </c:pt>
                <c:pt idx="21">
                  <c:v>1108</c:v>
                </c:pt>
                <c:pt idx="22">
                  <c:v>1090</c:v>
                </c:pt>
                <c:pt idx="23">
                  <c:v>1056</c:v>
                </c:pt>
                <c:pt idx="24">
                  <c:v>1078</c:v>
                </c:pt>
                <c:pt idx="25">
                  <c:v>1045</c:v>
                </c:pt>
                <c:pt idx="26">
                  <c:v>1036</c:v>
                </c:pt>
                <c:pt idx="27">
                  <c:v>1017</c:v>
                </c:pt>
                <c:pt idx="28">
                  <c:v>1017</c:v>
                </c:pt>
                <c:pt idx="29">
                  <c:v>1022</c:v>
                </c:pt>
                <c:pt idx="30">
                  <c:v>1040</c:v>
                </c:pt>
                <c:pt idx="31">
                  <c:v>1079</c:v>
                </c:pt>
                <c:pt idx="32">
                  <c:v>1090</c:v>
                </c:pt>
                <c:pt idx="33">
                  <c:v>1077</c:v>
                </c:pt>
                <c:pt idx="34">
                  <c:v>1104</c:v>
                </c:pt>
                <c:pt idx="35">
                  <c:v>1090</c:v>
                </c:pt>
                <c:pt idx="36">
                  <c:v>1073</c:v>
                </c:pt>
                <c:pt idx="37">
                  <c:v>1099</c:v>
                </c:pt>
                <c:pt idx="38">
                  <c:v>1107</c:v>
                </c:pt>
                <c:pt idx="39">
                  <c:v>1093</c:v>
                </c:pt>
                <c:pt idx="40">
                  <c:v>1108</c:v>
                </c:pt>
                <c:pt idx="41">
                  <c:v>1114</c:v>
                </c:pt>
                <c:pt idx="42">
                  <c:v>1112</c:v>
                </c:pt>
                <c:pt idx="43">
                  <c:v>1106</c:v>
                </c:pt>
                <c:pt idx="44">
                  <c:v>1147</c:v>
                </c:pt>
                <c:pt idx="45">
                  <c:v>1170</c:v>
                </c:pt>
                <c:pt idx="46">
                  <c:v>1214</c:v>
                </c:pt>
                <c:pt idx="47">
                  <c:v>1242</c:v>
                </c:pt>
                <c:pt idx="48">
                  <c:v>1267</c:v>
                </c:pt>
                <c:pt idx="49">
                  <c:v>1270</c:v>
                </c:pt>
                <c:pt idx="50">
                  <c:v>1271</c:v>
                </c:pt>
                <c:pt idx="51">
                  <c:v>1282</c:v>
                </c:pt>
                <c:pt idx="52">
                  <c:v>1364</c:v>
                </c:pt>
                <c:pt idx="53">
                  <c:v>1393</c:v>
                </c:pt>
                <c:pt idx="54">
                  <c:v>1410</c:v>
                </c:pt>
                <c:pt idx="55">
                  <c:v>1463</c:v>
                </c:pt>
                <c:pt idx="56">
                  <c:v>1439</c:v>
                </c:pt>
                <c:pt idx="57">
                  <c:v>1466</c:v>
                </c:pt>
                <c:pt idx="58">
                  <c:v>1504</c:v>
                </c:pt>
                <c:pt idx="59">
                  <c:v>1587</c:v>
                </c:pt>
                <c:pt idx="60">
                  <c:v>1599</c:v>
                </c:pt>
                <c:pt idx="61">
                  <c:v>1625</c:v>
                </c:pt>
                <c:pt idx="62">
                  <c:v>1650</c:v>
                </c:pt>
                <c:pt idx="63">
                  <c:v>1670</c:v>
                </c:pt>
                <c:pt idx="64">
                  <c:v>1673</c:v>
                </c:pt>
                <c:pt idx="65">
                  <c:v>1676</c:v>
                </c:pt>
                <c:pt idx="66">
                  <c:v>1770</c:v>
                </c:pt>
                <c:pt idx="67">
                  <c:v>1798</c:v>
                </c:pt>
                <c:pt idx="68">
                  <c:v>1829</c:v>
                </c:pt>
                <c:pt idx="69">
                  <c:v>1819</c:v>
                </c:pt>
                <c:pt idx="70">
                  <c:v>1835</c:v>
                </c:pt>
                <c:pt idx="71">
                  <c:v>1784</c:v>
                </c:pt>
                <c:pt idx="72">
                  <c:v>1831</c:v>
                </c:pt>
                <c:pt idx="73">
                  <c:v>1889</c:v>
                </c:pt>
                <c:pt idx="74">
                  <c:v>1894</c:v>
                </c:pt>
                <c:pt idx="75">
                  <c:v>1864</c:v>
                </c:pt>
                <c:pt idx="76">
                  <c:v>1864</c:v>
                </c:pt>
                <c:pt idx="77">
                  <c:v>1824</c:v>
                </c:pt>
                <c:pt idx="78">
                  <c:v>1788</c:v>
                </c:pt>
                <c:pt idx="79">
                  <c:v>1811</c:v>
                </c:pt>
                <c:pt idx="80">
                  <c:v>1826</c:v>
                </c:pt>
                <c:pt idx="81">
                  <c:v>1783</c:v>
                </c:pt>
                <c:pt idx="82">
                  <c:v>1749</c:v>
                </c:pt>
                <c:pt idx="83">
                  <c:v>1748</c:v>
                </c:pt>
                <c:pt idx="84">
                  <c:v>1687</c:v>
                </c:pt>
                <c:pt idx="85">
                  <c:v>1649</c:v>
                </c:pt>
                <c:pt idx="86">
                  <c:v>1663</c:v>
                </c:pt>
                <c:pt idx="87">
                  <c:v>1670</c:v>
                </c:pt>
                <c:pt idx="88">
                  <c:v>1618</c:v>
                </c:pt>
                <c:pt idx="89">
                  <c:v>1545</c:v>
                </c:pt>
                <c:pt idx="90">
                  <c:v>1471</c:v>
                </c:pt>
                <c:pt idx="91">
                  <c:v>1430</c:v>
                </c:pt>
                <c:pt idx="92">
                  <c:v>1432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797.3873111730345</c:v>
                </c:pt>
                <c:pt idx="71">
                  <c:v>1760.1541718416245</c:v>
                </c:pt>
                <c:pt idx="72">
                  <c:v>1722.0347037008469</c:v>
                </c:pt>
                <c:pt idx="73">
                  <c:v>1683.1806894927768</c:v>
                </c:pt>
                <c:pt idx="74">
                  <c:v>1643.7382136047186</c:v>
                </c:pt>
                <c:pt idx="75">
                  <c:v>1603.4280490485999</c:v>
                </c:pt>
                <c:pt idx="76">
                  <c:v>1563.1406113908149</c:v>
                </c:pt>
                <c:pt idx="77">
                  <c:v>1522.9814864072439</c:v>
                </c:pt>
                <c:pt idx="78">
                  <c:v>1481.8655317196451</c:v>
                </c:pt>
                <c:pt idx="79">
                  <c:v>1440.1959072065763</c:v>
                </c:pt>
                <c:pt idx="80">
                  <c:v>1397.5238344125205</c:v>
                </c:pt>
                <c:pt idx="81">
                  <c:v>1354.0386051596934</c:v>
                </c:pt>
                <c:pt idx="82">
                  <c:v>1310.9404186266702</c:v>
                </c:pt>
                <c:pt idx="83">
                  <c:v>1268.0495140187445</c:v>
                </c:pt>
                <c:pt idx="84">
                  <c:v>1226.0280145859019</c:v>
                </c:pt>
                <c:pt idx="85">
                  <c:v>1184.6487096796113</c:v>
                </c:pt>
                <c:pt idx="86">
                  <c:v>1143.8463977643728</c:v>
                </c:pt>
                <c:pt idx="87">
                  <c:v>1103.6371354565513</c:v>
                </c:pt>
                <c:pt idx="88">
                  <c:v>1064.127848617331</c:v>
                </c:pt>
                <c:pt idx="89">
                  <c:v>1025.6042863739356</c:v>
                </c:pt>
                <c:pt idx="90">
                  <c:v>988.22499004300494</c:v>
                </c:pt>
                <c:pt idx="91">
                  <c:v>952.11296519062819</c:v>
                </c:pt>
                <c:pt idx="92">
                  <c:v>917.06731824775568</c:v>
                </c:pt>
                <c:pt idx="93">
                  <c:v>882.906538465598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801.985709070535</c:v>
                </c:pt>
                <c:pt idx="71">
                  <c:v>1771.3292570811548</c:v>
                </c:pt>
                <c:pt idx="72">
                  <c:v>1741.3634032323635</c:v>
                </c:pt>
                <c:pt idx="73">
                  <c:v>1712.3325781788089</c:v>
                </c:pt>
                <c:pt idx="74">
                  <c:v>1684.3780258446677</c:v>
                </c:pt>
                <c:pt idx="75">
                  <c:v>1656.9127118571348</c:v>
                </c:pt>
                <c:pt idx="76">
                  <c:v>1630.6390153099396</c:v>
                </c:pt>
                <c:pt idx="77">
                  <c:v>1605.4877553055996</c:v>
                </c:pt>
                <c:pt idx="78">
                  <c:v>1580.3406590161549</c:v>
                </c:pt>
                <c:pt idx="79">
                  <c:v>1555.3938234743262</c:v>
                </c:pt>
                <c:pt idx="80">
                  <c:v>1529.9993851945494</c:v>
                </c:pt>
                <c:pt idx="81">
                  <c:v>1504.1213095441731</c:v>
                </c:pt>
                <c:pt idx="82">
                  <c:v>1478.709025835522</c:v>
                </c:pt>
                <c:pt idx="83">
                  <c:v>1453.4382427263547</c:v>
                </c:pt>
                <c:pt idx="84">
                  <c:v>1428.869097972336</c:v>
                </c:pt>
                <c:pt idx="85">
                  <c:v>1404.6541652714163</c:v>
                </c:pt>
                <c:pt idx="86">
                  <c:v>1380.6597927351927</c:v>
                </c:pt>
                <c:pt idx="87">
                  <c:v>1356.8105579883706</c:v>
                </c:pt>
                <c:pt idx="88">
                  <c:v>1333.1479103881186</c:v>
                </c:pt>
                <c:pt idx="89">
                  <c:v>1309.8970184145385</c:v>
                </c:pt>
                <c:pt idx="90">
                  <c:v>1287.1607485937934</c:v>
                </c:pt>
                <c:pt idx="91">
                  <c:v>1265.0163999037354</c:v>
                </c:pt>
                <c:pt idx="92">
                  <c:v>1243.2482317955441</c:v>
                </c:pt>
                <c:pt idx="93">
                  <c:v>1221.6459503361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837.6687593431718</c:v>
                </c:pt>
                <c:pt idx="71">
                  <c:v>1843.9218581308221</c:v>
                </c:pt>
                <c:pt idx="72">
                  <c:v>1851.5486739137127</c:v>
                </c:pt>
                <c:pt idx="73">
                  <c:v>1860.8842055615908</c:v>
                </c:pt>
                <c:pt idx="74">
                  <c:v>1872.2644415213902</c:v>
                </c:pt>
                <c:pt idx="75">
                  <c:v>1885.1125540235007</c:v>
                </c:pt>
                <c:pt idx="76">
                  <c:v>1899.6701093679769</c:v>
                </c:pt>
                <c:pt idx="77">
                  <c:v>1915.8378095643545</c:v>
                </c:pt>
                <c:pt idx="78">
                  <c:v>1933.2371355302985</c:v>
                </c:pt>
                <c:pt idx="79">
                  <c:v>1951.9933683876657</c:v>
                </c:pt>
                <c:pt idx="80">
                  <c:v>1971.4325106088409</c:v>
                </c:pt>
                <c:pt idx="81">
                  <c:v>1991.3093475633384</c:v>
                </c:pt>
                <c:pt idx="82">
                  <c:v>2012.1230385107419</c:v>
                </c:pt>
                <c:pt idx="83">
                  <c:v>2033.6713798162327</c:v>
                </c:pt>
                <c:pt idx="84">
                  <c:v>2056.4306504744109</c:v>
                </c:pt>
                <c:pt idx="85">
                  <c:v>2079.8293076355444</c:v>
                </c:pt>
                <c:pt idx="86">
                  <c:v>2103.6918382976455</c:v>
                </c:pt>
                <c:pt idx="87">
                  <c:v>2128.2335387181515</c:v>
                </c:pt>
                <c:pt idx="88">
                  <c:v>2154.8033859393563</c:v>
                </c:pt>
                <c:pt idx="89">
                  <c:v>2183.3380389338759</c:v>
                </c:pt>
                <c:pt idx="90">
                  <c:v>2213.868682455789</c:v>
                </c:pt>
                <c:pt idx="91">
                  <c:v>2246.2723631961685</c:v>
                </c:pt>
                <c:pt idx="92">
                  <c:v>2280.3632220305453</c:v>
                </c:pt>
                <c:pt idx="93">
                  <c:v>2315.873128968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08</c:v>
                </c:pt>
                <c:pt idx="1">
                  <c:v>1208</c:v>
                </c:pt>
                <c:pt idx="2">
                  <c:v>1208</c:v>
                </c:pt>
                <c:pt idx="3">
                  <c:v>1208</c:v>
                </c:pt>
                <c:pt idx="4">
                  <c:v>1208</c:v>
                </c:pt>
                <c:pt idx="5">
                  <c:v>1208</c:v>
                </c:pt>
                <c:pt idx="6">
                  <c:v>1208</c:v>
                </c:pt>
                <c:pt idx="7">
                  <c:v>1208</c:v>
                </c:pt>
                <c:pt idx="8">
                  <c:v>1208</c:v>
                </c:pt>
                <c:pt idx="9">
                  <c:v>1208</c:v>
                </c:pt>
                <c:pt idx="10">
                  <c:v>1208</c:v>
                </c:pt>
                <c:pt idx="11">
                  <c:v>1208</c:v>
                </c:pt>
                <c:pt idx="12">
                  <c:v>1208</c:v>
                </c:pt>
                <c:pt idx="13">
                  <c:v>1208</c:v>
                </c:pt>
                <c:pt idx="14">
                  <c:v>1208</c:v>
                </c:pt>
                <c:pt idx="15">
                  <c:v>1208</c:v>
                </c:pt>
                <c:pt idx="16">
                  <c:v>1208</c:v>
                </c:pt>
                <c:pt idx="17">
                  <c:v>1208</c:v>
                </c:pt>
                <c:pt idx="18">
                  <c:v>1208</c:v>
                </c:pt>
                <c:pt idx="19">
                  <c:v>1208</c:v>
                </c:pt>
                <c:pt idx="20">
                  <c:v>1208</c:v>
                </c:pt>
                <c:pt idx="21">
                  <c:v>1208</c:v>
                </c:pt>
                <c:pt idx="22">
                  <c:v>1208</c:v>
                </c:pt>
                <c:pt idx="23">
                  <c:v>1208</c:v>
                </c:pt>
                <c:pt idx="24">
                  <c:v>1208</c:v>
                </c:pt>
                <c:pt idx="25">
                  <c:v>1208</c:v>
                </c:pt>
                <c:pt idx="26">
                  <c:v>1208</c:v>
                </c:pt>
                <c:pt idx="27">
                  <c:v>1208</c:v>
                </c:pt>
                <c:pt idx="28">
                  <c:v>1208</c:v>
                </c:pt>
                <c:pt idx="29">
                  <c:v>1208</c:v>
                </c:pt>
                <c:pt idx="30">
                  <c:v>1208</c:v>
                </c:pt>
                <c:pt idx="31">
                  <c:v>1208</c:v>
                </c:pt>
                <c:pt idx="32">
                  <c:v>1208</c:v>
                </c:pt>
                <c:pt idx="33">
                  <c:v>1208</c:v>
                </c:pt>
                <c:pt idx="34">
                  <c:v>1208</c:v>
                </c:pt>
                <c:pt idx="35">
                  <c:v>1208</c:v>
                </c:pt>
                <c:pt idx="36">
                  <c:v>1208</c:v>
                </c:pt>
                <c:pt idx="37">
                  <c:v>1208</c:v>
                </c:pt>
                <c:pt idx="38">
                  <c:v>1208</c:v>
                </c:pt>
                <c:pt idx="39">
                  <c:v>1208</c:v>
                </c:pt>
                <c:pt idx="40">
                  <c:v>1208</c:v>
                </c:pt>
                <c:pt idx="41">
                  <c:v>1208</c:v>
                </c:pt>
                <c:pt idx="42">
                  <c:v>1208</c:v>
                </c:pt>
                <c:pt idx="43">
                  <c:v>1208</c:v>
                </c:pt>
                <c:pt idx="44">
                  <c:v>1208</c:v>
                </c:pt>
                <c:pt idx="45">
                  <c:v>1208</c:v>
                </c:pt>
                <c:pt idx="46">
                  <c:v>1208</c:v>
                </c:pt>
                <c:pt idx="47">
                  <c:v>1208</c:v>
                </c:pt>
                <c:pt idx="48">
                  <c:v>1208</c:v>
                </c:pt>
                <c:pt idx="49">
                  <c:v>1208</c:v>
                </c:pt>
                <c:pt idx="50">
                  <c:v>1208</c:v>
                </c:pt>
                <c:pt idx="51">
                  <c:v>1208</c:v>
                </c:pt>
                <c:pt idx="52">
                  <c:v>1208</c:v>
                </c:pt>
                <c:pt idx="53">
                  <c:v>1208</c:v>
                </c:pt>
                <c:pt idx="54">
                  <c:v>1208</c:v>
                </c:pt>
                <c:pt idx="55">
                  <c:v>1208</c:v>
                </c:pt>
                <c:pt idx="56">
                  <c:v>1208</c:v>
                </c:pt>
                <c:pt idx="57">
                  <c:v>1208</c:v>
                </c:pt>
                <c:pt idx="58">
                  <c:v>1208</c:v>
                </c:pt>
                <c:pt idx="59">
                  <c:v>1208</c:v>
                </c:pt>
                <c:pt idx="60">
                  <c:v>1208</c:v>
                </c:pt>
                <c:pt idx="61">
                  <c:v>1208</c:v>
                </c:pt>
                <c:pt idx="62">
                  <c:v>1208</c:v>
                </c:pt>
                <c:pt idx="63">
                  <c:v>1208</c:v>
                </c:pt>
                <c:pt idx="64">
                  <c:v>1208</c:v>
                </c:pt>
                <c:pt idx="65">
                  <c:v>1208</c:v>
                </c:pt>
                <c:pt idx="66">
                  <c:v>1208</c:v>
                </c:pt>
                <c:pt idx="67">
                  <c:v>1208</c:v>
                </c:pt>
                <c:pt idx="68">
                  <c:v>1208</c:v>
                </c:pt>
                <c:pt idx="69">
                  <c:v>1208</c:v>
                </c:pt>
                <c:pt idx="70">
                  <c:v>1208</c:v>
                </c:pt>
                <c:pt idx="71">
                  <c:v>1208</c:v>
                </c:pt>
                <c:pt idx="72">
                  <c:v>1208</c:v>
                </c:pt>
                <c:pt idx="73">
                  <c:v>1208</c:v>
                </c:pt>
                <c:pt idx="74">
                  <c:v>1208</c:v>
                </c:pt>
                <c:pt idx="75">
                  <c:v>1208</c:v>
                </c:pt>
                <c:pt idx="76">
                  <c:v>1208</c:v>
                </c:pt>
                <c:pt idx="77">
                  <c:v>1208</c:v>
                </c:pt>
                <c:pt idx="78">
                  <c:v>1208</c:v>
                </c:pt>
                <c:pt idx="79">
                  <c:v>1208</c:v>
                </c:pt>
                <c:pt idx="80">
                  <c:v>1208</c:v>
                </c:pt>
                <c:pt idx="81">
                  <c:v>1208</c:v>
                </c:pt>
                <c:pt idx="82">
                  <c:v>1208</c:v>
                </c:pt>
                <c:pt idx="83">
                  <c:v>1208</c:v>
                </c:pt>
                <c:pt idx="84">
                  <c:v>1208</c:v>
                </c:pt>
                <c:pt idx="85">
                  <c:v>1208</c:v>
                </c:pt>
                <c:pt idx="86">
                  <c:v>1208</c:v>
                </c:pt>
                <c:pt idx="87">
                  <c:v>1208</c:v>
                </c:pt>
                <c:pt idx="88">
                  <c:v>1208</c:v>
                </c:pt>
                <c:pt idx="89">
                  <c:v>1208</c:v>
                </c:pt>
                <c:pt idx="90">
                  <c:v>1208</c:v>
                </c:pt>
                <c:pt idx="91">
                  <c:v>1208</c:v>
                </c:pt>
                <c:pt idx="92">
                  <c:v>1208</c:v>
                </c:pt>
                <c:pt idx="93">
                  <c:v>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B$93:$B$243</c:f>
              <c:numCache>
                <c:formatCode>0</c:formatCode>
                <c:ptCount val="151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1</c:v>
                </c:pt>
                <c:pt idx="22">
                  <c:v>14138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1</c:v>
                </c:pt>
                <c:pt idx="27">
                  <c:v>10936</c:v>
                </c:pt>
                <c:pt idx="28">
                  <c:v>16475</c:v>
                </c:pt>
                <c:pt idx="29">
                  <c:v>17059</c:v>
                </c:pt>
                <c:pt idx="30">
                  <c:v>13307</c:v>
                </c:pt>
                <c:pt idx="31">
                  <c:v>3446</c:v>
                </c:pt>
                <c:pt idx="32">
                  <c:v>4985</c:v>
                </c:pt>
                <c:pt idx="33">
                  <c:v>6267</c:v>
                </c:pt>
                <c:pt idx="34">
                  <c:v>12955</c:v>
                </c:pt>
                <c:pt idx="35">
                  <c:v>17399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7</c:v>
                </c:pt>
                <c:pt idx="40">
                  <c:v>4312</c:v>
                </c:pt>
                <c:pt idx="41">
                  <c:v>9384</c:v>
                </c:pt>
                <c:pt idx="42">
                  <c:v>10810</c:v>
                </c:pt>
                <c:pt idx="43">
                  <c:v>10918</c:v>
                </c:pt>
                <c:pt idx="44">
                  <c:v>8087</c:v>
                </c:pt>
                <c:pt idx="45">
                  <c:v>9300</c:v>
                </c:pt>
                <c:pt idx="46">
                  <c:v>5241</c:v>
                </c:pt>
                <c:pt idx="47">
                  <c:v>2641</c:v>
                </c:pt>
                <c:pt idx="48">
                  <c:v>7667</c:v>
                </c:pt>
                <c:pt idx="49">
                  <c:v>9609</c:v>
                </c:pt>
                <c:pt idx="50">
                  <c:v>8215</c:v>
                </c:pt>
                <c:pt idx="51">
                  <c:v>7532</c:v>
                </c:pt>
                <c:pt idx="52">
                  <c:v>8467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4</c:v>
                </c:pt>
                <c:pt idx="57">
                  <c:v>8503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6</c:v>
                </c:pt>
                <c:pt idx="65">
                  <c:v>8106</c:v>
                </c:pt>
                <c:pt idx="66">
                  <c:v>8621</c:v>
                </c:pt>
                <c:pt idx="67">
                  <c:v>4820</c:v>
                </c:pt>
                <c:pt idx="68">
                  <c:v>2451</c:v>
                </c:pt>
                <c:pt idx="69">
                  <c:v>7779</c:v>
                </c:pt>
                <c:pt idx="70">
                  <c:v>10283</c:v>
                </c:pt>
                <c:pt idx="71">
                  <c:v>9538</c:v>
                </c:pt>
                <c:pt idx="72">
                  <c:v>9017</c:v>
                </c:pt>
                <c:pt idx="73">
                  <c:v>8827</c:v>
                </c:pt>
                <c:pt idx="74">
                  <c:v>5141</c:v>
                </c:pt>
                <c:pt idx="75">
                  <c:v>2881</c:v>
                </c:pt>
                <c:pt idx="76">
                  <c:v>8905</c:v>
                </c:pt>
                <c:pt idx="77">
                  <c:v>12609</c:v>
                </c:pt>
                <c:pt idx="78">
                  <c:v>10938</c:v>
                </c:pt>
                <c:pt idx="79">
                  <c:v>11702</c:v>
                </c:pt>
                <c:pt idx="80">
                  <c:v>11287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1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3</c:v>
                </c:pt>
                <c:pt idx="89">
                  <c:v>4587</c:v>
                </c:pt>
                <c:pt idx="90">
                  <c:v>12322</c:v>
                </c:pt>
                <c:pt idx="91">
                  <c:v>16776</c:v>
                </c:pt>
                <c:pt idx="92">
                  <c:v>15239</c:v>
                </c:pt>
                <c:pt idx="93">
                  <c:v>14648</c:v>
                </c:pt>
                <c:pt idx="94">
                  <c:v>13169</c:v>
                </c:pt>
                <c:pt idx="95">
                  <c:v>9130</c:v>
                </c:pt>
                <c:pt idx="96">
                  <c:v>3982</c:v>
                </c:pt>
                <c:pt idx="97">
                  <c:v>10653</c:v>
                </c:pt>
                <c:pt idx="98">
                  <c:v>15356</c:v>
                </c:pt>
                <c:pt idx="99">
                  <c:v>14535</c:v>
                </c:pt>
                <c:pt idx="100">
                  <c:v>11241</c:v>
                </c:pt>
                <c:pt idx="101">
                  <c:v>14956</c:v>
                </c:pt>
                <c:pt idx="102">
                  <c:v>6955</c:v>
                </c:pt>
                <c:pt idx="103">
                  <c:v>3331</c:v>
                </c:pt>
                <c:pt idx="104">
                  <c:v>10625</c:v>
                </c:pt>
                <c:pt idx="105">
                  <c:v>14026</c:v>
                </c:pt>
                <c:pt idx="106">
                  <c:v>12025</c:v>
                </c:pt>
                <c:pt idx="107">
                  <c:v>10656</c:v>
                </c:pt>
                <c:pt idx="108">
                  <c:v>9708</c:v>
                </c:pt>
                <c:pt idx="109">
                  <c:v>5466</c:v>
                </c:pt>
                <c:pt idx="110">
                  <c:v>2388</c:v>
                </c:pt>
                <c:pt idx="111">
                  <c:v>8242</c:v>
                </c:pt>
                <c:pt idx="112">
                  <c:v>10968</c:v>
                </c:pt>
                <c:pt idx="113">
                  <c:v>8845</c:v>
                </c:pt>
                <c:pt idx="114">
                  <c:v>7923</c:v>
                </c:pt>
                <c:pt idx="115">
                  <c:v>7708</c:v>
                </c:pt>
                <c:pt idx="116">
                  <c:v>3968</c:v>
                </c:pt>
                <c:pt idx="117">
                  <c:v>1742</c:v>
                </c:pt>
                <c:pt idx="118">
                  <c:v>6933</c:v>
                </c:pt>
                <c:pt idx="119">
                  <c:v>8628</c:v>
                </c:pt>
                <c:pt idx="120">
                  <c:v>7253</c:v>
                </c:pt>
                <c:pt idx="121">
                  <c:v>6245</c:v>
                </c:pt>
                <c:pt idx="122">
                  <c:v>3821</c:v>
                </c:pt>
                <c:pt idx="123">
                  <c:v>2149</c:v>
                </c:pt>
                <c:pt idx="124" formatCode="General">
                  <c:v>19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3D-4A48-BE0F-1E30C99130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C$93:$C$243</c:f>
              <c:numCache>
                <c:formatCode>General</c:formatCode>
                <c:ptCount val="15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73D-4A48-BE0F-1E30C991302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8</c:v>
                </c:pt>
              </c:strCache>
            </c:strRef>
          </c:tx>
          <c:spPr>
            <a:ln w="28575" cap="rnd">
              <a:solidFill>
                <a:srgbClr val="D31145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D$93:$D$243</c:f>
              <c:numCache>
                <c:formatCode>General</c:formatCode>
                <c:ptCount val="151"/>
                <c:pt idx="88">
                  <c:v>13884.456918020465</c:v>
                </c:pt>
                <c:pt idx="89">
                  <c:v>14404.262365330742</c:v>
                </c:pt>
                <c:pt idx="90">
                  <c:v>14937.2816170969</c:v>
                </c:pt>
                <c:pt idx="91">
                  <c:v>15483.313208428146</c:v>
                </c:pt>
                <c:pt idx="92">
                  <c:v>16042.100076875604</c:v>
                </c:pt>
                <c:pt idx="93">
                  <c:v>16613.32611723529</c:v>
                </c:pt>
                <c:pt idx="94">
                  <c:v>17196.612801747171</c:v>
                </c:pt>
                <c:pt idx="95">
                  <c:v>17791.51590415703</c:v>
                </c:pt>
                <c:pt idx="96">
                  <c:v>18397.522369673927</c:v>
                </c:pt>
                <c:pt idx="97">
                  <c:v>19014.047376278748</c:v>
                </c:pt>
                <c:pt idx="98">
                  <c:v>19640.431636032805</c:v>
                </c:pt>
                <c:pt idx="99">
                  <c:v>20275.938987905734</c:v>
                </c:pt>
                <c:pt idx="100">
                  <c:v>20919.754336084512</c:v>
                </c:pt>
                <c:pt idx="101">
                  <c:v>21570.981989631669</c:v>
                </c:pt>
                <c:pt idx="102">
                  <c:v>22228.644460614651</c:v>
                </c:pt>
                <c:pt idx="103">
                  <c:v>22891.681778313625</c:v>
                </c:pt>
                <c:pt idx="104">
                  <c:v>23558.951376713852</c:v>
                </c:pt>
                <c:pt idx="105">
                  <c:v>24229.228611089988</c:v>
                </c:pt>
                <c:pt idx="106">
                  <c:v>24901.207956986596</c:v>
                </c:pt>
                <c:pt idx="107">
                  <c:v>25573.504941201467</c:v>
                </c:pt>
                <c:pt idx="108">
                  <c:v>26244.658849408512</c:v>
                </c:pt>
                <c:pt idx="109">
                  <c:v>26913.136248762934</c:v>
                </c:pt>
                <c:pt idx="110">
                  <c:v>27577.335356185005</c:v>
                </c:pt>
                <c:pt idx="111">
                  <c:v>28235.591274024817</c:v>
                </c:pt>
                <c:pt idx="112">
                  <c:v>28886.182104508862</c:v>
                </c:pt>
                <c:pt idx="113">
                  <c:v>29527.335942838869</c:v>
                </c:pt>
                <c:pt idx="114">
                  <c:v>30157.23873617551</c:v>
                </c:pt>
                <c:pt idx="115">
                  <c:v>30774.042982158771</c:v>
                </c:pt>
                <c:pt idx="116">
                  <c:v>31375.87722630077</c:v>
                </c:pt>
                <c:pt idx="117">
                  <c:v>31960.85630278691</c:v>
                </c:pt>
                <c:pt idx="118">
                  <c:v>32527.092248225596</c:v>
                </c:pt>
                <c:pt idx="119">
                  <c:v>33072.705803019475</c:v>
                </c:pt>
                <c:pt idx="120">
                  <c:v>33595.838400642009</c:v>
                </c:pt>
                <c:pt idx="121">
                  <c:v>34094.664531561124</c:v>
                </c:pt>
                <c:pt idx="122">
                  <c:v>34567.404356231717</c:v>
                </c:pt>
                <c:pt idx="123">
                  <c:v>35012.336430855546</c:v>
                </c:pt>
                <c:pt idx="124">
                  <c:v>35427.810400834365</c:v>
                </c:pt>
                <c:pt idx="125">
                  <c:v>35812.259510348893</c:v>
                </c:pt>
                <c:pt idx="126">
                  <c:v>36164.212772564897</c:v>
                </c:pt>
                <c:pt idx="127">
                  <c:v>36482.306643828917</c:v>
                </c:pt>
                <c:pt idx="128">
                  <c:v>36765.296047033291</c:v>
                </c:pt>
                <c:pt idx="129">
                  <c:v>37012.064594191026</c:v>
                </c:pt>
                <c:pt idx="130">
                  <c:v>37221.633866173433</c:v>
                </c:pt>
                <c:pt idx="131">
                  <c:v>37393.171618446548</c:v>
                </c:pt>
                <c:pt idx="132">
                  <c:v>37525.998795331398</c:v>
                </c:pt>
                <c:pt idx="133">
                  <c:v>37619.595251556697</c:v>
                </c:pt>
                <c:pt idx="134">
                  <c:v>37673.60409834265</c:v>
                </c:pt>
                <c:pt idx="135">
                  <c:v>37687.834611552607</c:v>
                </c:pt>
                <c:pt idx="136">
                  <c:v>37662.263661121156</c:v>
                </c:pt>
                <c:pt idx="137">
                  <c:v>37597.035643513373</c:v>
                </c:pt>
                <c:pt idx="138">
                  <c:v>37492.460921867678</c:v>
                </c:pt>
                <c:pt idx="139">
                  <c:v>37349.012801188233</c:v>
                </c:pt>
                <c:pt idx="140">
                  <c:v>37167.323087957899</c:v>
                </c:pt>
                <c:pt idx="141">
                  <c:v>36948.176304338165</c:v>
                </c:pt>
                <c:pt idx="142">
                  <c:v>36692.502646250316</c:v>
                </c:pt>
                <c:pt idx="143">
                  <c:v>36401.369791687866</c:v>
                </c:pt>
                <c:pt idx="144">
                  <c:v>36075.973680258976</c:v>
                </c:pt>
                <c:pt idx="145">
                  <c:v>35717.628396937696</c:v>
                </c:pt>
                <c:pt idx="146">
                  <c:v>35327.755302135949</c:v>
                </c:pt>
                <c:pt idx="147">
                  <c:v>34907.871556398692</c:v>
                </c:pt>
                <c:pt idx="148">
                  <c:v>34459.578191259985</c:v>
                </c:pt>
                <c:pt idx="149">
                  <c:v>33984.547878145473</c:v>
                </c:pt>
                <c:pt idx="150">
                  <c:v>33484.512544804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73D-4A48-BE0F-1E30C991302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E$93:$E$243</c:f>
              <c:numCache>
                <c:formatCode>General</c:formatCode>
                <c:ptCount val="151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73D-4A48-BE0F-1E30C991302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F$93:$F$243</c:f>
              <c:numCache>
                <c:formatCode>General</c:formatCode>
                <c:ptCount val="151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BC-47C2-8B14-B46001D17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E$2:$E$76</c:f>
              <c:numCache>
                <c:formatCode>General</c:formatCode>
                <c:ptCount val="75"/>
                <c:pt idx="0">
                  <c:v>6317</c:v>
                </c:pt>
                <c:pt idx="1">
                  <c:v>6350</c:v>
                </c:pt>
                <c:pt idx="2">
                  <c:v>6435</c:v>
                </c:pt>
                <c:pt idx="3">
                  <c:v>6533</c:v>
                </c:pt>
                <c:pt idx="4">
                  <c:v>6548</c:v>
                </c:pt>
                <c:pt idx="5">
                  <c:v>6148</c:v>
                </c:pt>
                <c:pt idx="6">
                  <c:v>6355</c:v>
                </c:pt>
                <c:pt idx="7">
                  <c:v>7051</c:v>
                </c:pt>
                <c:pt idx="8">
                  <c:v>7084</c:v>
                </c:pt>
                <c:pt idx="9">
                  <c:v>7176</c:v>
                </c:pt>
                <c:pt idx="10">
                  <c:v>7392</c:v>
                </c:pt>
                <c:pt idx="11">
                  <c:v>7488</c:v>
                </c:pt>
                <c:pt idx="12">
                  <c:v>7193</c:v>
                </c:pt>
                <c:pt idx="13">
                  <c:v>7456</c:v>
                </c:pt>
                <c:pt idx="14">
                  <c:v>8272</c:v>
                </c:pt>
                <c:pt idx="15">
                  <c:v>8451</c:v>
                </c:pt>
                <c:pt idx="16">
                  <c:v>8392</c:v>
                </c:pt>
                <c:pt idx="17">
                  <c:v>8395</c:v>
                </c:pt>
                <c:pt idx="18">
                  <c:v>8453</c:v>
                </c:pt>
                <c:pt idx="19">
                  <c:v>8110</c:v>
                </c:pt>
                <c:pt idx="20">
                  <c:v>8335</c:v>
                </c:pt>
                <c:pt idx="21">
                  <c:v>9009</c:v>
                </c:pt>
                <c:pt idx="22">
                  <c:v>8977</c:v>
                </c:pt>
                <c:pt idx="23">
                  <c:v>8997</c:v>
                </c:pt>
                <c:pt idx="24">
                  <c:v>8962</c:v>
                </c:pt>
                <c:pt idx="25">
                  <c:v>8933</c:v>
                </c:pt>
                <c:pt idx="26">
                  <c:v>8529</c:v>
                </c:pt>
                <c:pt idx="27">
                  <c:v>8745</c:v>
                </c:pt>
                <c:pt idx="28">
                  <c:v>9457</c:v>
                </c:pt>
                <c:pt idx="29">
                  <c:v>9328</c:v>
                </c:pt>
                <c:pt idx="30">
                  <c:v>9166</c:v>
                </c:pt>
                <c:pt idx="31">
                  <c:v>8963</c:v>
                </c:pt>
                <c:pt idx="32">
                  <c:v>8773</c:v>
                </c:pt>
                <c:pt idx="33">
                  <c:v>8219</c:v>
                </c:pt>
                <c:pt idx="34">
                  <c:v>8335</c:v>
                </c:pt>
                <c:pt idx="35">
                  <c:v>8973</c:v>
                </c:pt>
                <c:pt idx="36">
                  <c:v>8639</c:v>
                </c:pt>
                <c:pt idx="37">
                  <c:v>8321</c:v>
                </c:pt>
                <c:pt idx="38">
                  <c:v>8167</c:v>
                </c:pt>
                <c:pt idx="39">
                  <c:v>8043</c:v>
                </c:pt>
                <c:pt idx="40">
                  <c:v>7525</c:v>
                </c:pt>
                <c:pt idx="41">
                  <c:v>7578</c:v>
                </c:pt>
                <c:pt idx="42">
                  <c:v>8124</c:v>
                </c:pt>
                <c:pt idx="43">
                  <c:v>7839</c:v>
                </c:pt>
                <c:pt idx="44">
                  <c:v>7484</c:v>
                </c:pt>
                <c:pt idx="45">
                  <c:v>7038</c:v>
                </c:pt>
                <c:pt idx="46">
                  <c:v>6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4B-49C3-A552-FC8CD36DE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B$2:$B$76</c:f>
              <c:numCache>
                <c:formatCode>General</c:formatCode>
                <c:ptCount val="75"/>
                <c:pt idx="10">
                  <c:v>7396.6721847127392</c:v>
                </c:pt>
                <c:pt idx="11">
                  <c:v>7591.1030118845256</c:v>
                </c:pt>
                <c:pt idx="12">
                  <c:v>7749.3859778646865</c:v>
                </c:pt>
                <c:pt idx="13">
                  <c:v>7917.8036625403047</c:v>
                </c:pt>
                <c:pt idx="14">
                  <c:v>8103.9882902353575</c:v>
                </c:pt>
                <c:pt idx="15">
                  <c:v>8306.4362474217651</c:v>
                </c:pt>
                <c:pt idx="16">
                  <c:v>8526.6049001944211</c:v>
                </c:pt>
                <c:pt idx="17">
                  <c:v>8760.5647034506783</c:v>
                </c:pt>
                <c:pt idx="18">
                  <c:v>9003.0596839062</c:v>
                </c:pt>
                <c:pt idx="19">
                  <c:v>9255.698225530321</c:v>
                </c:pt>
                <c:pt idx="20">
                  <c:v>9520.3048862740015</c:v>
                </c:pt>
                <c:pt idx="21">
                  <c:v>9793.316477870314</c:v>
                </c:pt>
                <c:pt idx="22">
                  <c:v>10072.966822459026</c:v>
                </c:pt>
                <c:pt idx="23">
                  <c:v>10360.463279622219</c:v>
                </c:pt>
                <c:pt idx="24">
                  <c:v>10656.351757626093</c:v>
                </c:pt>
                <c:pt idx="25">
                  <c:v>10960.929678804914</c:v>
                </c:pt>
                <c:pt idx="26">
                  <c:v>11273.498370102094</c:v>
                </c:pt>
                <c:pt idx="27">
                  <c:v>11592.288437724408</c:v>
                </c:pt>
                <c:pt idx="28">
                  <c:v>11914.872761348093</c:v>
                </c:pt>
                <c:pt idx="29">
                  <c:v>12240.797923815906</c:v>
                </c:pt>
                <c:pt idx="30">
                  <c:v>12569.80963153747</c:v>
                </c:pt>
                <c:pt idx="31">
                  <c:v>12901.299775415264</c:v>
                </c:pt>
                <c:pt idx="32">
                  <c:v>13234.444394985318</c:v>
                </c:pt>
                <c:pt idx="33">
                  <c:v>13568.820477630459</c:v>
                </c:pt>
                <c:pt idx="34">
                  <c:v>13903.964732161443</c:v>
                </c:pt>
                <c:pt idx="35">
                  <c:v>14238.523149875216</c:v>
                </c:pt>
                <c:pt idx="36">
                  <c:v>14571.640884632488</c:v>
                </c:pt>
                <c:pt idx="37">
                  <c:v>14902.260595840513</c:v>
                </c:pt>
                <c:pt idx="38">
                  <c:v>15229.361037422279</c:v>
                </c:pt>
                <c:pt idx="39">
                  <c:v>15552.192745208313</c:v>
                </c:pt>
                <c:pt idx="40">
                  <c:v>15870.064284368795</c:v>
                </c:pt>
                <c:pt idx="41">
                  <c:v>16181.949963030647</c:v>
                </c:pt>
                <c:pt idx="42">
                  <c:v>16486.82345257172</c:v>
                </c:pt>
                <c:pt idx="43">
                  <c:v>16783.864270793092</c:v>
                </c:pt>
                <c:pt idx="44">
                  <c:v>17072.057370028939</c:v>
                </c:pt>
                <c:pt idx="45">
                  <c:v>17350.457899150468</c:v>
                </c:pt>
                <c:pt idx="46">
                  <c:v>17618.284021531206</c:v>
                </c:pt>
                <c:pt idx="47">
                  <c:v>17874.586983295667</c:v>
                </c:pt>
                <c:pt idx="48">
                  <c:v>18118.482025149213</c:v>
                </c:pt>
                <c:pt idx="49">
                  <c:v>18349.118176158019</c:v>
                </c:pt>
                <c:pt idx="50">
                  <c:v>18565.580773150734</c:v>
                </c:pt>
                <c:pt idx="51">
                  <c:v>18767.074018691612</c:v>
                </c:pt>
                <c:pt idx="52">
                  <c:v>18952.853144239874</c:v>
                </c:pt>
                <c:pt idx="53">
                  <c:v>19122.218760191448</c:v>
                </c:pt>
                <c:pt idx="54">
                  <c:v>19274.534585575366</c:v>
                </c:pt>
                <c:pt idx="55">
                  <c:v>19409.192582598356</c:v>
                </c:pt>
                <c:pt idx="56">
                  <c:v>19525.613198128212</c:v>
                </c:pt>
                <c:pt idx="57">
                  <c:v>19623.254716615069</c:v>
                </c:pt>
                <c:pt idx="58">
                  <c:v>19701.649038144522</c:v>
                </c:pt>
                <c:pt idx="59">
                  <c:v>19760.417346893966</c:v>
                </c:pt>
                <c:pt idx="60">
                  <c:v>19799.297928694003</c:v>
                </c:pt>
                <c:pt idx="61">
                  <c:v>19818.129287701806</c:v>
                </c:pt>
                <c:pt idx="62">
                  <c:v>19816.737327369312</c:v>
                </c:pt>
                <c:pt idx="63">
                  <c:v>19795.04683415038</c:v>
                </c:pt>
                <c:pt idx="64">
                  <c:v>19753.115394399199</c:v>
                </c:pt>
                <c:pt idx="65">
                  <c:v>19691.005663568852</c:v>
                </c:pt>
                <c:pt idx="66">
                  <c:v>19608.856455886089</c:v>
                </c:pt>
                <c:pt idx="67">
                  <c:v>19506.929570100794</c:v>
                </c:pt>
                <c:pt idx="68">
                  <c:v>19385.583298545975</c:v>
                </c:pt>
                <c:pt idx="69">
                  <c:v>19245.206780357745</c:v>
                </c:pt>
                <c:pt idx="70">
                  <c:v>19086.271314431771</c:v>
                </c:pt>
                <c:pt idx="71">
                  <c:v>18909.320318014674</c:v>
                </c:pt>
                <c:pt idx="72">
                  <c:v>18714.955578396435</c:v>
                </c:pt>
                <c:pt idx="73">
                  <c:v>18503.832814492038</c:v>
                </c:pt>
                <c:pt idx="74">
                  <c:v>18276.666642071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16-4360-A02D-44DD6057B4B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C$2:$C$76</c:f>
              <c:numCache>
                <c:formatCode>General</c:formatCode>
                <c:ptCount val="75"/>
                <c:pt idx="10">
                  <c:v>7396.6721847127392</c:v>
                </c:pt>
                <c:pt idx="11">
                  <c:v>7591.1030118845256</c:v>
                </c:pt>
                <c:pt idx="12">
                  <c:v>7742.4339547670361</c:v>
                </c:pt>
                <c:pt idx="13">
                  <c:v>7892.0310200342965</c:v>
                </c:pt>
                <c:pt idx="14">
                  <c:v>8044.7119103191844</c:v>
                </c:pt>
                <c:pt idx="15">
                  <c:v>8197.2972860831596</c:v>
                </c:pt>
                <c:pt idx="16">
                  <c:v>8350.2033684319013</c:v>
                </c:pt>
                <c:pt idx="17">
                  <c:v>8498.7730806304626</c:v>
                </c:pt>
                <c:pt idx="18">
                  <c:v>8637.2670469349814</c:v>
                </c:pt>
                <c:pt idx="19">
                  <c:v>8767.0208880297087</c:v>
                </c:pt>
                <c:pt idx="20">
                  <c:v>8889.850819538151</c:v>
                </c:pt>
                <c:pt idx="21">
                  <c:v>9002.4059311626606</c:v>
                </c:pt>
                <c:pt idx="22">
                  <c:v>9103.3558740881526</c:v>
                </c:pt>
                <c:pt idx="23">
                  <c:v>9194.6340928283953</c:v>
                </c:pt>
                <c:pt idx="24">
                  <c:v>9277.6758227457085</c:v>
                </c:pt>
                <c:pt idx="25">
                  <c:v>9353.7213455837409</c:v>
                </c:pt>
                <c:pt idx="26">
                  <c:v>9423.0423295868422</c:v>
                </c:pt>
                <c:pt idx="27">
                  <c:v>9484.8843072786913</c:v>
                </c:pt>
                <c:pt idx="28">
                  <c:v>9537.8516401071138</c:v>
                </c:pt>
                <c:pt idx="29">
                  <c:v>9582.5210246429488</c:v>
                </c:pt>
                <c:pt idx="30">
                  <c:v>9619.6533502665643</c:v>
                </c:pt>
                <c:pt idx="31">
                  <c:v>9649.654372109866</c:v>
                </c:pt>
                <c:pt idx="32">
                  <c:v>9672.7411513351908</c:v>
                </c:pt>
                <c:pt idx="33">
                  <c:v>9689.5744597942357</c:v>
                </c:pt>
                <c:pt idx="34">
                  <c:v>9700.8063714452055</c:v>
                </c:pt>
                <c:pt idx="35">
                  <c:v>9706.1881162018744</c:v>
                </c:pt>
                <c:pt idx="36">
                  <c:v>9705.9516050498951</c:v>
                </c:pt>
                <c:pt idx="37">
                  <c:v>9700.1138151166197</c:v>
                </c:pt>
                <c:pt idx="38">
                  <c:v>9688.7252060171577</c:v>
                </c:pt>
                <c:pt idx="39">
                  <c:v>9672.1046277736841</c:v>
                </c:pt>
                <c:pt idx="40">
                  <c:v>9650.6293378663941</c:v>
                </c:pt>
                <c:pt idx="41">
                  <c:v>9624.3441636202151</c:v>
                </c:pt>
                <c:pt idx="42">
                  <c:v>9593.2940574056938</c:v>
                </c:pt>
                <c:pt idx="43">
                  <c:v>9557.7313827830731</c:v>
                </c:pt>
                <c:pt idx="44">
                  <c:v>9517.7060733705257</c:v>
                </c:pt>
                <c:pt idx="45">
                  <c:v>9473.3272056652659</c:v>
                </c:pt>
                <c:pt idx="46">
                  <c:v>9424.8540519567941</c:v>
                </c:pt>
                <c:pt idx="47">
                  <c:v>9372.3645017081908</c:v>
                </c:pt>
                <c:pt idx="48">
                  <c:v>9315.9814354580922</c:v>
                </c:pt>
                <c:pt idx="49">
                  <c:v>9255.838246088957</c:v>
                </c:pt>
                <c:pt idx="50">
                  <c:v>9191.9763243453417</c:v>
                </c:pt>
                <c:pt idx="51">
                  <c:v>9124.5223925131304</c:v>
                </c:pt>
                <c:pt idx="52">
                  <c:v>9053.6172373956815</c:v>
                </c:pt>
                <c:pt idx="53">
                  <c:v>8979.4045322103975</c:v>
                </c:pt>
                <c:pt idx="54">
                  <c:v>8902.0433220578234</c:v>
                </c:pt>
                <c:pt idx="55">
                  <c:v>8821.6688022198832</c:v>
                </c:pt>
                <c:pt idx="56">
                  <c:v>8738.3869307684799</c:v>
                </c:pt>
                <c:pt idx="57">
                  <c:v>8652.2794011615115</c:v>
                </c:pt>
                <c:pt idx="58">
                  <c:v>8563.4360007802461</c:v>
                </c:pt>
                <c:pt idx="59">
                  <c:v>8471.9668230765037</c:v>
                </c:pt>
                <c:pt idx="60">
                  <c:v>8378.0269657291901</c:v>
                </c:pt>
                <c:pt idx="61">
                  <c:v>8281.7970909321248</c:v>
                </c:pt>
                <c:pt idx="62">
                  <c:v>8183.3691564897026</c:v>
                </c:pt>
                <c:pt idx="63">
                  <c:v>8082.856763126696</c:v>
                </c:pt>
                <c:pt idx="64">
                  <c:v>7980.4276728491423</c:v>
                </c:pt>
                <c:pt idx="65">
                  <c:v>7876.1749102041858</c:v>
                </c:pt>
                <c:pt idx="66">
                  <c:v>7770.1878903911556</c:v>
                </c:pt>
                <c:pt idx="67">
                  <c:v>7662.6008484820122</c:v>
                </c:pt>
                <c:pt idx="68">
                  <c:v>7553.5685674771703</c:v>
                </c:pt>
                <c:pt idx="69">
                  <c:v>7443.2023931863396</c:v>
                </c:pt>
                <c:pt idx="70">
                  <c:v>7331.6245572436474</c:v>
                </c:pt>
                <c:pt idx="71">
                  <c:v>7218.9614964876619</c:v>
                </c:pt>
                <c:pt idx="72">
                  <c:v>7105.333604429803</c:v>
                </c:pt>
                <c:pt idx="73">
                  <c:v>6990.8542501154971</c:v>
                </c:pt>
                <c:pt idx="74">
                  <c:v>6875.639484149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D$2:$D$76</c:f>
              <c:numCache>
                <c:formatCode>General</c:formatCode>
                <c:ptCount val="75"/>
                <c:pt idx="10">
                  <c:v>7396.6721847127392</c:v>
                </c:pt>
                <c:pt idx="11">
                  <c:v>7591.1030118845256</c:v>
                </c:pt>
                <c:pt idx="12">
                  <c:v>7737.1036185848598</c:v>
                </c:pt>
                <c:pt idx="13">
                  <c:v>7872.2669015309111</c:v>
                </c:pt>
                <c:pt idx="14">
                  <c:v>7999.4082154549769</c:v>
                </c:pt>
                <c:pt idx="15">
                  <c:v>8114.4078047092244</c:v>
                </c:pt>
                <c:pt idx="16">
                  <c:v>8217.3772676637655</c:v>
                </c:pt>
                <c:pt idx="17">
                  <c:v>8303.693659059476</c:v>
                </c:pt>
                <c:pt idx="18">
                  <c:v>8367.8934755498904</c:v>
                </c:pt>
                <c:pt idx="19">
                  <c:v>8411.7727742418683</c:v>
                </c:pt>
                <c:pt idx="20">
                  <c:v>8437.811107857302</c:v>
                </c:pt>
                <c:pt idx="21">
                  <c:v>8443.473089927862</c:v>
                </c:pt>
                <c:pt idx="22">
                  <c:v>8428.3832992816187</c:v>
                </c:pt>
                <c:pt idx="23">
                  <c:v>8395.6081436397817</c:v>
                </c:pt>
                <c:pt idx="24">
                  <c:v>8347.7855442870386</c:v>
                </c:pt>
                <c:pt idx="25">
                  <c:v>8287.332635594119</c:v>
                </c:pt>
                <c:pt idx="26">
                  <c:v>8215.6437124080894</c:v>
                </c:pt>
                <c:pt idx="27">
                  <c:v>8133.0417444269215</c:v>
                </c:pt>
                <c:pt idx="28">
                  <c:v>8039.1407275422862</c:v>
                </c:pt>
                <c:pt idx="29">
                  <c:v>7935.4454847171646</c:v>
                </c:pt>
                <c:pt idx="30">
                  <c:v>7823.5544682057234</c:v>
                </c:pt>
                <c:pt idx="31">
                  <c:v>7704.6333327728071</c:v>
                </c:pt>
                <c:pt idx="32">
                  <c:v>7579.6065930786153</c:v>
                </c:pt>
                <c:pt idx="33">
                  <c:v>7449.8055549986093</c:v>
                </c:pt>
                <c:pt idx="34">
                  <c:v>7316.5103559285908</c:v>
                </c:pt>
                <c:pt idx="35">
                  <c:v>7180.0282829853531</c:v>
                </c:pt>
                <c:pt idx="36">
                  <c:v>7041.0713752545817</c:v>
                </c:pt>
                <c:pt idx="37">
                  <c:v>6900.0690156452993</c:v>
                </c:pt>
                <c:pt idx="38">
                  <c:v>6757.4282733390955</c:v>
                </c:pt>
                <c:pt idx="39">
                  <c:v>6613.7729313734535</c:v>
                </c:pt>
                <c:pt idx="40">
                  <c:v>6469.7410899127399</c:v>
                </c:pt>
                <c:pt idx="41">
                  <c:v>6325.6001893247085</c:v>
                </c:pt>
                <c:pt idx="42">
                  <c:v>6181.583475596075</c:v>
                </c:pt>
                <c:pt idx="43">
                  <c:v>6038.1026139803771</c:v>
                </c:pt>
                <c:pt idx="44">
                  <c:v>5895.3353692176679</c:v>
                </c:pt>
                <c:pt idx="45">
                  <c:v>5753.4894879648282</c:v>
                </c:pt>
                <c:pt idx="46">
                  <c:v>5612.8973668973549</c:v>
                </c:pt>
                <c:pt idx="47">
                  <c:v>5473.6883288125955</c:v>
                </c:pt>
                <c:pt idx="48">
                  <c:v>5336.0166936429496</c:v>
                </c:pt>
                <c:pt idx="49">
                  <c:v>5200.0291864336523</c:v>
                </c:pt>
                <c:pt idx="50">
                  <c:v>5065.7637196673068</c:v>
                </c:pt>
                <c:pt idx="51">
                  <c:v>4933.3278436109285</c:v>
                </c:pt>
                <c:pt idx="52">
                  <c:v>4802.829915747684</c:v>
                </c:pt>
                <c:pt idx="53">
                  <c:v>4674.3686638175877</c:v>
                </c:pt>
                <c:pt idx="54">
                  <c:v>4548.0464601704298</c:v>
                </c:pt>
                <c:pt idx="55">
                  <c:v>4423.9313854936427</c:v>
                </c:pt>
                <c:pt idx="56">
                  <c:v>4302.0519323713233</c:v>
                </c:pt>
                <c:pt idx="57">
                  <c:v>4182.4027499983376</c:v>
                </c:pt>
                <c:pt idx="58">
                  <c:v>4064.9782215513983</c:v>
                </c:pt>
                <c:pt idx="59">
                  <c:v>3949.7855281206066</c:v>
                </c:pt>
                <c:pt idx="60">
                  <c:v>3836.8700618978419</c:v>
                </c:pt>
                <c:pt idx="61">
                  <c:v>3726.2967061215541</c:v>
                </c:pt>
                <c:pt idx="62">
                  <c:v>3618.0366826047425</c:v>
                </c:pt>
                <c:pt idx="63">
                  <c:v>3512.0787823601977</c:v>
                </c:pt>
                <c:pt idx="64">
                  <c:v>3408.4620633607678</c:v>
                </c:pt>
                <c:pt idx="65">
                  <c:v>3307.1467945607965</c:v>
                </c:pt>
                <c:pt idx="66">
                  <c:v>3208.0858548236556</c:v>
                </c:pt>
                <c:pt idx="67">
                  <c:v>3111.274158061377</c:v>
                </c:pt>
                <c:pt idx="68">
                  <c:v>3016.725379270782</c:v>
                </c:pt>
                <c:pt idx="69">
                  <c:v>2924.4080609478719</c:v>
                </c:pt>
                <c:pt idx="70">
                  <c:v>2834.3005909894164</c:v>
                </c:pt>
                <c:pt idx="71">
                  <c:v>2746.3850237097381</c:v>
                </c:pt>
                <c:pt idx="72">
                  <c:v>2660.6370414360813</c:v>
                </c:pt>
                <c:pt idx="73">
                  <c:v>2577.0247894386503</c:v>
                </c:pt>
                <c:pt idx="74">
                  <c:v>2495.5190688827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  <c:max val="20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37218278064565652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7572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1740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46328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9297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9556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4040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4.png"/><Relationship Id="rId4" Type="http://schemas.openxmlformats.org/officeDocument/2006/relationships/image" Target="../media/image7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4.png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5.04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842219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96694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72182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264081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45507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083924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8928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209358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101067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259237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853350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0500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1305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092058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80169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900307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2520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6810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280586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69824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807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7049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50991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85195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77481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157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2742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5.04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74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3686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3169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59503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26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4.xml"/><Relationship Id="rId17" Type="http://schemas.openxmlformats.org/officeDocument/2006/relationships/image" Target="../media/image30.png"/><Relationship Id="rId2" Type="http://schemas.openxmlformats.org/officeDocument/2006/relationships/tags" Target="../tags/tag5.xml"/><Relationship Id="rId16" Type="http://schemas.openxmlformats.org/officeDocument/2006/relationships/image" Target="../media/image29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20.xml"/><Relationship Id="rId5" Type="http://schemas.openxmlformats.org/officeDocument/2006/relationships/tags" Target="../tags/tag8.xml"/><Relationship Id="rId15" Type="http://schemas.openxmlformats.org/officeDocument/2006/relationships/image" Target="../media/image28.png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chart" Target="../charts/chart6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chart" Target="../charts/chart9.xml"/><Relationship Id="rId4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chart" Target="../charts/chart10.xml"/><Relationship Id="rId4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chart" Target="../charts/chart11.xml"/><Relationship Id="rId4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chart" Target="../charts/chart12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3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3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image" Target="../media/image31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image" Target="../media/image33.png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image" Target="../media/image32.png"/><Relationship Id="rId2" Type="http://schemas.openxmlformats.org/officeDocument/2006/relationships/tags" Target="../tags/tag39.xml"/><Relationship Id="rId16" Type="http://schemas.openxmlformats.org/officeDocument/2006/relationships/image" Target="../media/image36.png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slideLayout" Target="../slideLayouts/slideLayout45.xml"/><Relationship Id="rId5" Type="http://schemas.openxmlformats.org/officeDocument/2006/relationships/tags" Target="../tags/tag42.xml"/><Relationship Id="rId15" Type="http://schemas.openxmlformats.org/officeDocument/2006/relationships/image" Target="../media/image35.png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image" Target="../media/image34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4" Type="http://schemas.openxmlformats.org/officeDocument/2006/relationships/image" Target="../media/image4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4" Type="http://schemas.openxmlformats.org/officeDocument/2006/relationships/image" Target="../media/image44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 fontScale="92500"/>
          </a:bodyPr>
          <a:lstStyle/>
          <a:p>
            <a:r>
              <a:rPr lang="cs-CZ" sz="5200" b="1" dirty="0" smtClean="0"/>
              <a:t>Zpětné zhodnocení predikcí vývoje </a:t>
            </a:r>
            <a:r>
              <a:rPr lang="cs-CZ" sz="5200" b="1" dirty="0"/>
              <a:t>epidemie </a:t>
            </a:r>
          </a:p>
          <a:p>
            <a:r>
              <a:rPr lang="cs-CZ" sz="5200" b="1" dirty="0"/>
              <a:t>ve vazbě na přijatá opatření </a:t>
            </a:r>
          </a:p>
          <a:p>
            <a:r>
              <a:rPr lang="cs-CZ" sz="4200" i="1" dirty="0" smtClean="0"/>
              <a:t>Modely vybudované k 5.3. 2021 - doplnění </a:t>
            </a:r>
            <a:r>
              <a:rPr lang="cs-CZ" sz="4200" i="1" dirty="0"/>
              <a:t>dat </a:t>
            </a:r>
            <a:r>
              <a:rPr lang="cs-CZ" sz="4200" i="1" dirty="0" smtClean="0"/>
              <a:t>k 4. 4. </a:t>
            </a:r>
            <a:r>
              <a:rPr lang="cs-CZ" sz="4200" i="1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3D56BB79-AE7E-495C-95FC-748FAF93C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980" y="1531774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200" b="1" u="sng" dirty="0">
                <a:solidFill>
                  <a:prstClr val="white"/>
                </a:solidFill>
              </a:rPr>
              <a:t>SEIR model: udržení a významné posílení opatření </a:t>
            </a:r>
          </a:p>
          <a:p>
            <a:pPr lvl="0" algn="ctr">
              <a:defRPr/>
            </a:pPr>
            <a:r>
              <a:rPr lang="cs-CZ" sz="2200" b="1" dirty="0">
                <a:solidFill>
                  <a:prstClr val="white"/>
                </a:solidFill>
              </a:rPr>
              <a:t>Dopad potenciálních opatření na mobilitu od 19.2.2021</a:t>
            </a:r>
            <a:endParaRPr lang="cs-CZ" sz="2200" b="1" u="sng" dirty="0">
              <a:solidFill>
                <a:prstClr val="white"/>
              </a:solidFill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600" b="1" dirty="0"/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1200" dirty="0"/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defRPr/>
            </a:pPr>
            <a:r>
              <a:rPr lang="cs-CZ" sz="1600" b="1" kern="0" dirty="0"/>
              <a:t>Efekt opatření od 28.12.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snížení pracovních kontaktů na 40 %</a:t>
            </a:r>
            <a:endParaRPr lang="en-US" sz="1600" b="1" kern="0" dirty="0"/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školní kontakty na 0 %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snížení jiných kontaktů na 40 %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/>
              <a:t>snížení základní reprodukce o 10%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/>
              <a:t>školní kontakty na 30 % od 4.1.</a:t>
            </a:r>
          </a:p>
          <a:p>
            <a:pPr marL="85725" lvl="1"/>
            <a:endParaRPr lang="cs-CZ" sz="1600" b="1" dirty="0">
              <a:solidFill>
                <a:srgbClr val="D31145"/>
              </a:solidFill>
            </a:endParaRPr>
          </a:p>
          <a:p>
            <a:pPr marL="85725" lvl="1"/>
            <a:r>
              <a:rPr lang="cs-CZ" sz="1600" b="1" dirty="0">
                <a:solidFill>
                  <a:srgbClr val="D31145"/>
                </a:solidFill>
              </a:rPr>
              <a:t>Od 25.1.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>
                <a:solidFill>
                  <a:srgbClr val="D31145"/>
                </a:solidFill>
              </a:rPr>
              <a:t>zvýšení základní reprodukce o 70 %</a:t>
            </a:r>
            <a:br>
              <a:rPr lang="cs-CZ" sz="1600" b="1" dirty="0">
                <a:solidFill>
                  <a:srgbClr val="D31145"/>
                </a:solidFill>
              </a:rPr>
            </a:br>
            <a:r>
              <a:rPr lang="cs-CZ" sz="1600" b="1" dirty="0">
                <a:solidFill>
                  <a:srgbClr val="D31145"/>
                </a:solidFill>
              </a:rPr>
              <a:t>(simulace šíření nakažlivějších forem viru, simulace nedodržování opatření)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endParaRPr lang="cs-CZ" sz="1600" b="1" kern="0" dirty="0">
              <a:solidFill>
                <a:srgbClr val="D31145"/>
              </a:solidFill>
            </a:endParaRPr>
          </a:p>
          <a:p>
            <a:pPr marL="85725" lvl="1">
              <a:defRPr/>
            </a:pPr>
            <a:r>
              <a:rPr lang="cs-CZ" sz="1600" b="1" u="sng" kern="0" dirty="0">
                <a:solidFill>
                  <a:srgbClr val="D31145"/>
                </a:solidFill>
              </a:rPr>
              <a:t>Efekt a silnější dodržování opatření od 19.2.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snížení pracovních kontaktů na </a:t>
            </a:r>
            <a:r>
              <a:rPr lang="cs-CZ" sz="1600" b="1" u="sng" kern="0" dirty="0">
                <a:solidFill>
                  <a:srgbClr val="D31145"/>
                </a:solidFill>
              </a:rPr>
              <a:t>20 %</a:t>
            </a:r>
            <a:endParaRPr lang="en-US" sz="1600" b="1" u="sng" kern="0" dirty="0">
              <a:solidFill>
                <a:srgbClr val="D31145"/>
              </a:solidFill>
            </a:endParaRP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školní kontakty na 0 %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snížení jiných kontaktů na </a:t>
            </a:r>
            <a:r>
              <a:rPr lang="cs-CZ" sz="1600" b="1" u="sng" kern="0" dirty="0">
                <a:solidFill>
                  <a:srgbClr val="D31145"/>
                </a:solidFill>
              </a:rPr>
              <a:t>20 - 25 %</a:t>
            </a:r>
          </a:p>
          <a:p>
            <a:pPr marL="85725" lvl="1">
              <a:defRPr/>
            </a:pPr>
            <a:endParaRPr lang="cs-CZ" sz="1600" b="1" kern="0" dirty="0">
              <a:solidFill>
                <a:srgbClr val="D31145"/>
              </a:solidFill>
            </a:endParaRPr>
          </a:p>
          <a:p>
            <a:pPr marL="85725" lvl="1"/>
            <a:r>
              <a:rPr lang="en-US" sz="1600" b="1" kern="0" dirty="0">
                <a:solidFill>
                  <a:srgbClr val="D31145"/>
                </a:solidFill>
              </a:rPr>
              <a:t>(</a:t>
            </a:r>
            <a:r>
              <a:rPr lang="cs-CZ" sz="1600" b="1" kern="0" dirty="0">
                <a:solidFill>
                  <a:srgbClr val="D31145"/>
                </a:solidFill>
              </a:rPr>
              <a:t>uvedeny podíly normálních kontaktů</a:t>
            </a:r>
            <a:r>
              <a:rPr lang="en-US" sz="1600" b="1" kern="0" dirty="0">
                <a:solidFill>
                  <a:srgbClr val="D31145"/>
                </a:solidFill>
              </a:rPr>
              <a:t>)</a:t>
            </a:r>
            <a:endParaRPr lang="cs-CZ" sz="1600" b="1" dirty="0">
              <a:solidFill>
                <a:srgbClr val="D31145"/>
              </a:solidFill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b="1" dirty="0" smtClean="0"/>
              <a:t>Predikce</a:t>
            </a:r>
            <a:endParaRPr lang="cs-CZ" sz="1600" b="1" dirty="0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, PRACOVNÍ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</a:t>
            </a:r>
            <a:r>
              <a:rPr kumimoji="0" lang="cs-CZ" sz="11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apříklad limitované znalosti o skutečné vnímavosti populace k viru a k jeho novým variantám)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nezbytné výsledky brát jako orientační, umožňující zejména celkové</a:t>
            </a:r>
            <a:r>
              <a:rPr kumimoji="0" lang="cs-CZ" sz="1100" b="0" i="1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rovnávání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2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7452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9529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/>
              <a:t>Verifikace modelů </a:t>
            </a:r>
            <a:r>
              <a:rPr lang="cs-CZ" sz="3600" i="1" dirty="0" smtClean="0"/>
              <a:t>nastavených na počátku března 2021 </a:t>
            </a:r>
            <a:endParaRPr lang="cs-CZ" sz="3600" i="1" dirty="0"/>
          </a:p>
        </p:txBody>
      </p:sp>
    </p:spTree>
    <p:extLst>
      <p:ext uri="{BB962C8B-B14F-4D97-AF65-F5344CB8AC3E}">
        <p14:creationId xmlns:p14="http://schemas.microsoft.com/office/powerpoint/2010/main" val="27868015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</a:t>
            </a:r>
            <a:r>
              <a:rPr kumimoji="0" lang="cs-CZ" sz="38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hospitalizovaných pacien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nastavených scénářů </a:t>
            </a:r>
            <a:endParaRPr kumimoji="0" lang="cs-CZ" sz="3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11643" y="1652626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141403" y="2471419"/>
            <a:ext cx="11633702" cy="2677656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2800" b="1" dirty="0">
                <a:solidFill>
                  <a:srgbClr val="C00000"/>
                </a:solidFill>
              </a:rPr>
              <a:t>Všechny scénáře nevyhnutelně vedly k predikcím dalšího nárůstu počtu hospitalizovaných pacientů po 1.3. 2021, jak celkově, jak na intenzivní péči. </a:t>
            </a:r>
          </a:p>
          <a:p>
            <a:pPr algn="ctr"/>
            <a:r>
              <a:rPr lang="cs-CZ" sz="2800" b="1" dirty="0">
                <a:solidFill>
                  <a:srgbClr val="C00000"/>
                </a:solidFill>
              </a:rPr>
              <a:t>I při velmi podstatném posílení opatření a jejich dodržování </a:t>
            </a:r>
            <a:r>
              <a:rPr lang="cs-CZ" sz="2800" b="1" dirty="0" smtClean="0">
                <a:solidFill>
                  <a:srgbClr val="C00000"/>
                </a:solidFill>
              </a:rPr>
              <a:t>došlo k </a:t>
            </a:r>
            <a:r>
              <a:rPr lang="cs-CZ" sz="2800" b="1" dirty="0">
                <a:solidFill>
                  <a:srgbClr val="C00000"/>
                </a:solidFill>
              </a:rPr>
              <a:t>významnému poklesu zátěže nemocniční péče až od 2. poloviny března 2021.</a:t>
            </a:r>
          </a:p>
          <a:p>
            <a:pPr algn="ctr"/>
            <a:endParaRPr lang="cs-CZ" sz="2800" b="1" dirty="0">
              <a:solidFill>
                <a:srgbClr val="C00000"/>
              </a:solidFill>
            </a:endParaRPr>
          </a:p>
          <a:p>
            <a:pPr algn="ctr"/>
            <a:r>
              <a:rPr lang="cs-CZ" sz="2800" b="1" dirty="0">
                <a:solidFill>
                  <a:srgbClr val="C00000"/>
                </a:solidFill>
              </a:rPr>
              <a:t> </a:t>
            </a:r>
            <a:endParaRPr lang="en-US" sz="2800" b="1" dirty="0">
              <a:solidFill>
                <a:srgbClr val="C00000"/>
              </a:solidFill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5881" y="6180234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11"/>
          <p:cNvSpPr txBox="1"/>
          <p:nvPr/>
        </p:nvSpPr>
        <p:spPr>
          <a:xfrm>
            <a:off x="460000" y="4702994"/>
            <a:ext cx="112477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Z modelů připravených v polovině února 2021 se nejvíce naplnila predikce kontinuální nárůstu celkového počtu hospitalizovaných na počátku března až k hranici &gt; 8 000, od druhé poloviny března postupný sestup. Počty </a:t>
            </a:r>
            <a:r>
              <a:rPr lang="cs-CZ" sz="2400" i="1" dirty="0" smtClean="0"/>
              <a:t>pacientů na </a:t>
            </a:r>
            <a:r>
              <a:rPr lang="cs-CZ" sz="2400" i="1" dirty="0"/>
              <a:t>JIP překročily hranici 1 800.  </a:t>
            </a:r>
            <a:endParaRPr lang="en-US" sz="2400" i="1" dirty="0"/>
          </a:p>
        </p:txBody>
      </p:sp>
    </p:spTree>
    <p:extLst>
      <p:ext uri="{BB962C8B-B14F-4D97-AF65-F5344CB8AC3E}">
        <p14:creationId xmlns:p14="http://schemas.microsoft.com/office/powerpoint/2010/main" val="29492249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57326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ůvodní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rátkodobé predikce potenciálního rizika: celkový počet hospitalizací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308970" y="878131"/>
            <a:ext cx="42747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pro</a:t>
            </a:r>
            <a:r>
              <a:rPr kumimoji="0" lang="cs-CZ" sz="2000" b="1" i="1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bdobí do 14.3. 2021</a:t>
            </a:r>
            <a:endParaRPr kumimoji="0" lang="cs-CZ" sz="20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/>
        </p:nvSpPr>
        <p:spPr>
          <a:xfrm rot="16200000">
            <a:off x="-1464090" y="3656578"/>
            <a:ext cx="35745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utečný a predikovaný počet pacientů na lůžku v daný den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/>
        </p:nvGrpSpPr>
        <p:grpSpPr>
          <a:xfrm>
            <a:off x="6761972" y="1144894"/>
            <a:ext cx="5397662" cy="951327"/>
            <a:chOff x="6462419" y="1469144"/>
            <a:chExt cx="5397662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7">
              <a:extLst>
                <a:ext uri="{FF2B5EF4-FFF2-40B4-BE49-F238E27FC236}">
                  <a16:creationId xmlns:a16="http://schemas.microsoft.com/office/drawing/2014/main" id="{3B4A904C-0978-4AAB-A720-8833584345AE}"/>
                </a:ext>
              </a:extLst>
            </p:cNvPr>
            <p:cNvSpPr txBox="1"/>
            <p:nvPr/>
          </p:nvSpPr>
          <p:spPr>
            <a:xfrm>
              <a:off x="6477789" y="1558500"/>
              <a:ext cx="538229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edikce</a:t>
              </a: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počtu hospitalizovaných pacientů na základě modelů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ři parametrech nemoci z období 11/2020–02/2021 pro různé </a:t>
              </a:r>
              <a:r>
                <a:rPr kumimoji="0" lang="cs-CZ" sz="14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cénáře</a:t>
              </a:r>
              <a:endPara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49262186-E45B-4BF1-9D9A-F8A337C3FCE1}"/>
              </a:ext>
            </a:extLst>
          </p:cNvPr>
          <p:cNvGrpSpPr/>
          <p:nvPr/>
        </p:nvGrpSpPr>
        <p:grpSpPr>
          <a:xfrm>
            <a:off x="10113164" y="2829399"/>
            <a:ext cx="1888984" cy="3385542"/>
            <a:chOff x="10270650" y="3526984"/>
            <a:chExt cx="1888984" cy="3385542"/>
          </a:xfrm>
        </p:grpSpPr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13D53C13-5FB2-417D-A6D5-83CF143B26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70650" y="4094718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17CCDECC-CBA2-478B-9341-666661CE29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72796" y="5403216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bdélník 45">
              <a:extLst>
                <a:ext uri="{FF2B5EF4-FFF2-40B4-BE49-F238E27FC236}">
                  <a16:creationId xmlns:a16="http://schemas.microsoft.com/office/drawing/2014/main" id="{BF090220-B855-47F7-9F37-82D3829B32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TextovéPole 46">
              <a:extLst>
                <a:ext uri="{FF2B5EF4-FFF2-40B4-BE49-F238E27FC236}">
                  <a16:creationId xmlns:a16="http://schemas.microsoft.com/office/drawing/2014/main" id="{C548E92B-AFE4-4BF8-B9EB-002D5E319F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3385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izikový scénář,</a:t>
              </a:r>
              <a:r>
                <a:rPr kumimoji="0" lang="cs-CZ" sz="14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pokračující, dále nelimitovaný, růst epidemie (stávající hodnota R = 1,2)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cénář udržení a částečného posílení opatření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4D13EFBE-83F5-4C3E-BCE3-3F691B753F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70650" y="6206060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ovéPole 18"/>
          <p:cNvSpPr txBox="1"/>
          <p:nvPr/>
        </p:nvSpPr>
        <p:spPr>
          <a:xfrm>
            <a:off x="1355211" y="2113786"/>
            <a:ext cx="5111633" cy="338554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ciální riziko &gt; 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0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í do 2 – 3 týdnů*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Přímá spojnice se šipkou 19"/>
          <p:cNvCxnSpPr/>
          <p:nvPr/>
        </p:nvCxnSpPr>
        <p:spPr>
          <a:xfrm flipH="1" flipV="1">
            <a:off x="1261000" y="2859654"/>
            <a:ext cx="8488218" cy="27709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Chart 11">
            <a:extLst>
              <a:ext uri="{FF2B5EF4-FFF2-40B4-BE49-F238E27FC236}">
                <a16:creationId xmlns:a16="http://schemas.microsoft.com/office/drawing/2014/main" id="{EECF08DB-855B-4B7A-A6AB-BF07E05B39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1196384"/>
              </p:ext>
            </p:extLst>
          </p:nvPr>
        </p:nvGraphicFramePr>
        <p:xfrm>
          <a:off x="610677" y="1603582"/>
          <a:ext cx="9322487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1355211" y="2439127"/>
            <a:ext cx="57760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>
                <a:solidFill>
                  <a:srgbClr val="FF0000"/>
                </a:solidFill>
              </a:rPr>
              <a:t>* Vysoce rizikový scénář kalkulující s omezeným dopadem přijatých opatření. </a:t>
            </a:r>
          </a:p>
          <a:p>
            <a:r>
              <a:rPr lang="cs-CZ" sz="1200" dirty="0">
                <a:solidFill>
                  <a:srgbClr val="FF0000"/>
                </a:solidFill>
              </a:rPr>
              <a:t>Predikce slouží jako orientační varování pro přípravu a mobilizaci kapacit nemocniční péče.</a:t>
            </a:r>
          </a:p>
        </p:txBody>
      </p:sp>
    </p:spTree>
    <p:extLst>
      <p:ext uri="{BB962C8B-B14F-4D97-AF65-F5344CB8AC3E}">
        <p14:creationId xmlns:p14="http://schemas.microsoft.com/office/powerpoint/2010/main" val="3421921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1243252" cy="51790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200" b="1" u="sng" dirty="0">
                <a:solidFill>
                  <a:srgbClr val="44546A"/>
                </a:solidFill>
              </a:rPr>
              <a:t>Původní</a:t>
            </a:r>
            <a:r>
              <a:rPr lang="cs-CZ" sz="2200" b="1" dirty="0">
                <a:solidFill>
                  <a:srgbClr val="44546A"/>
                </a:solidFill>
              </a:rPr>
              <a:t> krátkodobé predikce potenciálního rizika: </a:t>
            </a:r>
            <a:r>
              <a:rPr lang="cs-CZ" sz="2200" b="1" dirty="0">
                <a:solidFill>
                  <a:schemeClr val="tx2"/>
                </a:solidFill>
              </a:rPr>
              <a:t>počet pacientů vyžadujících intenzivní péči</a:t>
            </a:r>
            <a:endParaRPr lang="cs-CZ" sz="2200" dirty="0">
              <a:solidFill>
                <a:schemeClr val="tx2"/>
              </a:solidFill>
            </a:endParaRP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1557888" y="3120422"/>
            <a:ext cx="57760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>
                <a:solidFill>
                  <a:srgbClr val="FF0000"/>
                </a:solidFill>
              </a:rPr>
              <a:t>* Vysoce rizikový scénář kalkulující s omezeným dopadem přijatých opatření. </a:t>
            </a:r>
          </a:p>
          <a:p>
            <a:r>
              <a:rPr lang="cs-CZ" sz="1200" dirty="0">
                <a:solidFill>
                  <a:srgbClr val="FF0000"/>
                </a:solidFill>
              </a:rPr>
              <a:t>Predikce slouží jako orientační varování pro přípravu a mobilizaci kapacit nemocniční péče.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E36EAA6-C4E8-4F61-8C7E-179133674960}"/>
              </a:ext>
            </a:extLst>
          </p:cNvPr>
          <p:cNvGrpSpPr/>
          <p:nvPr/>
        </p:nvGrpSpPr>
        <p:grpSpPr>
          <a:xfrm>
            <a:off x="6794338" y="1144894"/>
            <a:ext cx="5397662" cy="951327"/>
            <a:chOff x="6462419" y="1469144"/>
            <a:chExt cx="5397662" cy="951327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CC22ECAE-4360-43DF-89FF-3222EEC55D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34">
              <a:extLst>
                <a:ext uri="{FF2B5EF4-FFF2-40B4-BE49-F238E27FC236}">
                  <a16:creationId xmlns:a16="http://schemas.microsoft.com/office/drawing/2014/main" id="{E2F149F2-E547-4511-8D4B-E14022C5229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7">
              <a:extLst>
                <a:ext uri="{FF2B5EF4-FFF2-40B4-BE49-F238E27FC236}">
                  <a16:creationId xmlns:a16="http://schemas.microsoft.com/office/drawing/2014/main" id="{1828E70E-6E25-4EA2-8BDE-45DCD8CA5F57}"/>
                </a:ext>
              </a:extLst>
            </p:cNvPr>
            <p:cNvSpPr txBox="1"/>
            <p:nvPr/>
          </p:nvSpPr>
          <p:spPr>
            <a:xfrm>
              <a:off x="6477788" y="1558500"/>
              <a:ext cx="53822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i="1" dirty="0" err="1"/>
                <a:t>Predikce</a:t>
              </a:r>
              <a:r>
                <a:rPr lang="cs-CZ" sz="1400" i="1" dirty="0"/>
                <a:t> počtu hospitalizovaných pacientů na základě modelů </a:t>
              </a:r>
            </a:p>
            <a:p>
              <a:r>
                <a:rPr lang="cs-CZ" sz="1400" i="1" dirty="0"/>
                <a:t>při parametrech nemoci z období 11/2020–02/2021 pro různé </a:t>
              </a:r>
              <a:r>
                <a:rPr lang="cs-CZ" sz="1400" i="1" dirty="0" smtClean="0"/>
                <a:t>scénáře</a:t>
              </a:r>
              <a:endParaRPr lang="cs-CZ" sz="1400" i="1" dirty="0"/>
            </a:p>
          </p:txBody>
        </p:sp>
      </p:grp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49262186-E45B-4BF1-9D9A-F8A337C3FCE1}"/>
              </a:ext>
            </a:extLst>
          </p:cNvPr>
          <p:cNvGrpSpPr/>
          <p:nvPr/>
        </p:nvGrpSpPr>
        <p:grpSpPr>
          <a:xfrm>
            <a:off x="10147889" y="2783099"/>
            <a:ext cx="1888984" cy="3600986"/>
            <a:chOff x="10270650" y="3526984"/>
            <a:chExt cx="1888984" cy="3600986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13D53C13-5FB2-417D-A6D5-83CF143B26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70650" y="4094718"/>
              <a:ext cx="360000" cy="0"/>
            </a:xfrm>
            <a:prstGeom prst="line">
              <a:avLst/>
            </a:prstGeom>
            <a:ln w="28575"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17CCDECC-CBA2-478B-9341-666661CE29F9}"/>
                </a:ext>
              </a:extLst>
            </p:cNvPr>
            <p:cNvCxnSpPr>
              <a:cxnSpLocks/>
            </p:cNvCxnSpPr>
            <p:nvPr/>
          </p:nvCxnSpPr>
          <p:spPr>
            <a:xfrm>
              <a:off x="10304415" y="5599986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BF090220-B855-47F7-9F37-82D3829B32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33">
              <a:extLst>
                <a:ext uri="{FF2B5EF4-FFF2-40B4-BE49-F238E27FC236}">
                  <a16:creationId xmlns:a16="http://schemas.microsoft.com/office/drawing/2014/main" id="{C548E92B-AFE4-4BF8-B9EB-002D5E319F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36009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izikové scénáře,</a:t>
              </a:r>
              <a:r>
                <a:rPr kumimoji="0" lang="cs-CZ" sz="14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pokračující, dále nelimitovaný, růst epidemie (reprodukce R = 1,2 až &gt; 1,3)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cénář udržení a částečného posílení opatření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4D13EFBE-83F5-4C3E-BCE3-3F691B753FAF}"/>
                </a:ext>
              </a:extLst>
            </p:cNvPr>
            <p:cNvCxnSpPr>
              <a:cxnSpLocks/>
            </p:cNvCxnSpPr>
            <p:nvPr/>
          </p:nvCxnSpPr>
          <p:spPr>
            <a:xfrm>
              <a:off x="10302269" y="6436303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ovéPole 36"/>
          <p:cNvSpPr txBox="1"/>
          <p:nvPr/>
        </p:nvSpPr>
        <p:spPr>
          <a:xfrm>
            <a:off x="1557888" y="2644188"/>
            <a:ext cx="5421704" cy="338554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ciální riziko &gt; </a:t>
            </a:r>
            <a:r>
              <a:rPr lang="cs-CZ" sz="1600" b="1" dirty="0" smtClean="0">
                <a:solidFill>
                  <a:prstClr val="white"/>
                </a:solidFill>
                <a:latin typeface="Calibri" panose="020F0502020204030204"/>
              </a:rPr>
              <a:t>2 000 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í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</a:t>
            </a:r>
            <a:r>
              <a:rPr lang="cs-CZ" sz="1600" b="1" dirty="0" err="1">
                <a:solidFill>
                  <a:prstClr val="white"/>
                </a:solidFill>
                <a:latin typeface="Calibri" panose="020F0502020204030204"/>
              </a:rPr>
              <a:t>J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P do 2 – 3 týdnů *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8" name="Přímá spojnice se šipkou 37"/>
          <p:cNvCxnSpPr/>
          <p:nvPr/>
        </p:nvCxnSpPr>
        <p:spPr>
          <a:xfrm flipH="1" flipV="1">
            <a:off x="1395958" y="3101877"/>
            <a:ext cx="8488218" cy="27709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/>
        </p:nvSpPr>
        <p:spPr>
          <a:xfrm rot="16200000">
            <a:off x="-1313259" y="3628297"/>
            <a:ext cx="35745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utečný a predikovaný počet pacientů na lůžku JIP v daný den</a:t>
            </a:r>
          </a:p>
        </p:txBody>
      </p:sp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27A69E5F-8F44-411E-8B21-09211810E4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0849175"/>
              </p:ext>
            </p:extLst>
          </p:nvPr>
        </p:nvGraphicFramePr>
        <p:xfrm>
          <a:off x="786835" y="1939113"/>
          <a:ext cx="9322487" cy="4527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6" name="Přímá spojnice 25">
            <a:extLst>
              <a:ext uri="{FF2B5EF4-FFF2-40B4-BE49-F238E27FC236}">
                <a16:creationId xmlns:a16="http://schemas.microsoft.com/office/drawing/2014/main" id="{13D53C13-5FB2-417D-A6D5-83CF143B2642}"/>
              </a:ext>
            </a:extLst>
          </p:cNvPr>
          <p:cNvCxnSpPr>
            <a:cxnSpLocks/>
          </p:cNvCxnSpPr>
          <p:nvPr/>
        </p:nvCxnSpPr>
        <p:spPr>
          <a:xfrm>
            <a:off x="10176238" y="3584284"/>
            <a:ext cx="36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308970" y="878131"/>
            <a:ext cx="42747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pro</a:t>
            </a:r>
            <a:r>
              <a:rPr kumimoji="0" lang="cs-CZ" sz="2000" b="1" i="1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bdobí do 14.3. 2021</a:t>
            </a:r>
            <a:endParaRPr kumimoji="0" lang="cs-CZ" sz="20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7565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325" y="365125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cs-CZ" sz="3400" b="1" dirty="0" smtClean="0">
                <a:latin typeface="+mn-lt"/>
              </a:rPr>
              <a:t>Počty </a:t>
            </a:r>
            <a:r>
              <a:rPr lang="en-CZ" sz="3400" b="1" dirty="0">
                <a:latin typeface="+mn-lt"/>
              </a:rPr>
              <a:t>hospitalizovaných</a:t>
            </a:r>
            <a:r>
              <a:rPr lang="cs-CZ" sz="3400" b="1" dirty="0">
                <a:latin typeface="+mn-lt"/>
              </a:rPr>
              <a:t> pacientů </a:t>
            </a:r>
            <a:r>
              <a:rPr lang="cs-CZ" sz="3400" b="1" dirty="0" smtClean="0">
                <a:latin typeface="+mn-lt"/>
              </a:rPr>
              <a:t>dosáhly enormní výše</a:t>
            </a:r>
            <a:r>
              <a:rPr lang="cs-CZ" sz="3400" b="1" dirty="0">
                <a:latin typeface="+mn-lt"/>
              </a:rPr>
              <a:t/>
            </a:r>
            <a:br>
              <a:rPr lang="cs-CZ" sz="3400" b="1" dirty="0">
                <a:latin typeface="+mn-lt"/>
              </a:rPr>
            </a:br>
            <a:r>
              <a:rPr lang="cs-CZ" sz="3400" b="1" dirty="0">
                <a:latin typeface="+mn-lt"/>
              </a:rPr>
              <a:t>a zejména v segmentu vysoce intenzivní péče </a:t>
            </a:r>
            <a:r>
              <a:rPr lang="cs-CZ" sz="3400" b="1" dirty="0" smtClean="0">
                <a:latin typeface="+mn-lt"/>
              </a:rPr>
              <a:t>vedly v </a:t>
            </a:r>
            <a:r>
              <a:rPr lang="cs-CZ" sz="3400" b="1" dirty="0">
                <a:latin typeface="+mn-lt"/>
              </a:rPr>
              <a:t>nejvíce zatížených regionech </a:t>
            </a:r>
            <a:r>
              <a:rPr lang="cs-CZ" sz="3400" b="1" dirty="0" smtClean="0">
                <a:latin typeface="+mn-lt"/>
              </a:rPr>
              <a:t>až k vyčerpání dostupných kapacit. </a:t>
            </a:r>
            <a:r>
              <a:rPr lang="en-CZ" sz="3400" b="1" dirty="0"/>
              <a:t/>
            </a:r>
            <a:br>
              <a:rPr lang="en-CZ" sz="3400" b="1" dirty="0"/>
            </a:br>
            <a:endParaRPr lang="en-CZ" sz="3400" b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6AA7CEA-DA9D-FB48-ACE8-2C23380168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24753"/>
            <a:ext cx="10515600" cy="344833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5700" dirty="0"/>
              <a:t>C</a:t>
            </a:r>
            <a:r>
              <a:rPr lang="en-CZ" sz="5700" dirty="0"/>
              <a:t>elkem v nemocnici: 		</a:t>
            </a:r>
            <a:r>
              <a:rPr lang="cs-CZ" sz="5700" b="1" dirty="0" smtClean="0">
                <a:solidFill>
                  <a:srgbClr val="FF0000"/>
                </a:solidFill>
              </a:rPr>
              <a:t>9 457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JIP:					</a:t>
            </a:r>
            <a:r>
              <a:rPr lang="en-CZ" sz="5700" dirty="0">
                <a:solidFill>
                  <a:srgbClr val="FF0000"/>
                </a:solidFill>
              </a:rPr>
              <a:t>1 </a:t>
            </a:r>
            <a:r>
              <a:rPr lang="cs-CZ" sz="5700" dirty="0" smtClean="0">
                <a:solidFill>
                  <a:srgbClr val="FF0000"/>
                </a:solidFill>
              </a:rPr>
              <a:t>894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</a:t>
            </a:r>
            <a:r>
              <a:rPr lang="en-CZ" sz="5700" dirty="0" smtClean="0"/>
              <a:t>UPV: </a:t>
            </a:r>
            <a:r>
              <a:rPr lang="en-CZ" sz="5700" dirty="0"/>
              <a:t>			</a:t>
            </a:r>
            <a:r>
              <a:rPr lang="en-CZ" sz="5700" dirty="0" smtClean="0"/>
              <a:t>	 	</a:t>
            </a:r>
            <a:r>
              <a:rPr lang="cs-CZ" sz="5700" dirty="0" smtClean="0">
                <a:solidFill>
                  <a:srgbClr val="FF0000"/>
                </a:solidFill>
              </a:rPr>
              <a:t>974</a:t>
            </a:r>
            <a:r>
              <a:rPr lang="en-CZ" sz="5700" dirty="0" smtClean="0">
                <a:solidFill>
                  <a:srgbClr val="FF0000"/>
                </a:solidFill>
              </a:rPr>
              <a:t>        </a:t>
            </a:r>
            <a:endParaRPr lang="en-CZ" sz="5700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ECMO:				</a:t>
            </a:r>
            <a:r>
              <a:rPr lang="cs-CZ" sz="5700" dirty="0" smtClean="0">
                <a:solidFill>
                  <a:srgbClr val="FF0000"/>
                </a:solidFill>
              </a:rPr>
              <a:t>37</a:t>
            </a:r>
            <a:r>
              <a:rPr lang="en-CZ" sz="5700" dirty="0" smtClean="0">
                <a:solidFill>
                  <a:srgbClr val="FF0000"/>
                </a:solidFill>
              </a:rPr>
              <a:t>  </a:t>
            </a:r>
            <a:endParaRPr lang="en-CZ" sz="4700" i="1" dirty="0"/>
          </a:p>
        </p:txBody>
      </p:sp>
      <p:sp>
        <p:nvSpPr>
          <p:cNvPr id="2" name="Šipka dolů 1"/>
          <p:cNvSpPr/>
          <p:nvPr/>
        </p:nvSpPr>
        <p:spPr>
          <a:xfrm>
            <a:off x="5329381" y="1915175"/>
            <a:ext cx="1403927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7639172" y="1981512"/>
            <a:ext cx="2948709" cy="830997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ximální počt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březnu 202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57447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8660" y="103163"/>
            <a:ext cx="11537512" cy="1951268"/>
          </a:xfrm>
        </p:spPr>
        <p:txBody>
          <a:bodyPr>
            <a:normAutofit fontScale="92500"/>
          </a:bodyPr>
          <a:lstStyle/>
          <a:p>
            <a:r>
              <a:rPr lang="cs-CZ" sz="3600" b="1" dirty="0"/>
              <a:t>Rizikový vývoj epidemie </a:t>
            </a:r>
            <a:r>
              <a:rPr lang="cs-CZ" sz="3600" b="1" dirty="0" smtClean="0"/>
              <a:t>v 1. polovině března významně  zvýšil zátěž </a:t>
            </a:r>
            <a:r>
              <a:rPr lang="cs-CZ" sz="3600" b="1" dirty="0"/>
              <a:t>nemocnic, které se v zatížených regionech </a:t>
            </a:r>
            <a:r>
              <a:rPr lang="cs-CZ" sz="3600" b="1" dirty="0" smtClean="0"/>
              <a:t>dostaly </a:t>
            </a:r>
            <a:r>
              <a:rPr lang="cs-CZ" sz="3600" b="1" dirty="0"/>
              <a:t>na limit  kapacit zejména v intenzivní péči. 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157740" y="2905066"/>
            <a:ext cx="1161934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mnoha regionech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kapacity limitující dostupnost personálu. Funkční lůžko na intenzivní péči vyžaduje vysoce erudovaný personál. Zátěž nemocnic dále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yšoval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kt, že 20 – 25% pacientů vyléčených z COVID vyžaduje pokračující nemocniční péči, včetně péče vysoce intenzivní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343961" y="2161361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343959" y="5881869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79639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0A7881E0-1061-41B0-A112-C71BAED2AED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1" r="11893"/>
          <a:stretch/>
        </p:blipFill>
        <p:spPr>
          <a:xfrm>
            <a:off x="5181132" y="4291992"/>
            <a:ext cx="3601385" cy="2520000"/>
          </a:xfrm>
          <a:prstGeom prst="rect">
            <a:avLst/>
          </a:prstGeom>
        </p:spPr>
      </p:pic>
      <p:pic>
        <p:nvPicPr>
          <p:cNvPr id="7" name="Picture 6" descr="Map&#10;&#10;Description automatically generated">
            <a:extLst>
              <a:ext uri="{FF2B5EF4-FFF2-40B4-BE49-F238E27FC236}">
                <a16:creationId xmlns:a16="http://schemas.microsoft.com/office/drawing/2014/main" id="{07C6572F-C6A7-408C-8412-016493A6F43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2" r="10085"/>
          <a:stretch/>
        </p:blipFill>
        <p:spPr>
          <a:xfrm>
            <a:off x="170221" y="4339447"/>
            <a:ext cx="3759911" cy="2520000"/>
          </a:xfrm>
          <a:prstGeom prst="rect">
            <a:avLst/>
          </a:prstGeom>
        </p:spPr>
      </p:pic>
      <p:sp>
        <p:nvSpPr>
          <p:cNvPr id="6" name="Zaoblený obdélník 5"/>
          <p:cNvSpPr/>
          <p:nvPr/>
        </p:nvSpPr>
        <p:spPr>
          <a:xfrm>
            <a:off x="242284" y="133245"/>
            <a:ext cx="11720734" cy="476159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lůžek v % pro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ůvodní RIZIKOVÝ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ční model</a:t>
            </a: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813B3F-3821-4DD9-8C67-E6AFF2A9839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42284" y="880132"/>
            <a:ext cx="38863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14.2.2021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F6F6E00-F3B7-4825-AED5-12ECBC70662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58439" y="880132"/>
            <a:ext cx="3436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2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  <p:pic>
        <p:nvPicPr>
          <p:cNvPr id="16" name="Picture 15" descr="Map&#10;&#10;Description automatically generated">
            <a:extLst>
              <a:ext uri="{FF2B5EF4-FFF2-40B4-BE49-F238E27FC236}">
                <a16:creationId xmlns:a16="http://schemas.microsoft.com/office/drawing/2014/main" id="{59A3AA55-1BCB-4C67-9FCD-3BAC4645D22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" r="11634"/>
          <a:stretch/>
        </p:blipFill>
        <p:spPr>
          <a:xfrm>
            <a:off x="12593" y="1474238"/>
            <a:ext cx="3533058" cy="2520000"/>
          </a:xfrm>
          <a:prstGeom prst="rect">
            <a:avLst/>
          </a:prstGeom>
        </p:spPr>
      </p:pic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D0A41E8A-BBBF-43F6-ADEB-65A751EEA8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" r="10053"/>
          <a:stretch/>
        </p:blipFill>
        <p:spPr>
          <a:xfrm>
            <a:off x="3994506" y="1474238"/>
            <a:ext cx="3601385" cy="2520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8972B87-A46D-43B7-A956-9DE448F30EF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188597" y="880132"/>
            <a:ext cx="3436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5.3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7C9E002-0D9F-4A10-9EDA-66DF616DEFA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755113" y="3968827"/>
            <a:ext cx="32896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volné kapacity JIP v % k 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25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3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Map&#10;&#10;Description automatically generated">
            <a:extLst>
              <a:ext uri="{FF2B5EF4-FFF2-40B4-BE49-F238E27FC236}">
                <a16:creationId xmlns:a16="http://schemas.microsoft.com/office/drawing/2014/main" id="{68F7B601-A9DD-4686-BAE0-0EF32C2C9196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0" r="10014"/>
          <a:stretch/>
        </p:blipFill>
        <p:spPr>
          <a:xfrm>
            <a:off x="7908885" y="1421587"/>
            <a:ext cx="3657417" cy="2520000"/>
          </a:xfrm>
          <a:prstGeom prst="rect">
            <a:avLst/>
          </a:prstGeom>
        </p:spPr>
      </p:pic>
      <p:sp>
        <p:nvSpPr>
          <p:cNvPr id="19" name="Rectangle 9">
            <a:extLst>
              <a:ext uri="{FF2B5EF4-FFF2-40B4-BE49-F238E27FC236}">
                <a16:creationId xmlns:a16="http://schemas.microsoft.com/office/drawing/2014/main" id="{B61D1BFC-AC4C-4020-871E-A874D23799D2}"/>
              </a:ext>
            </a:extLst>
          </p:cNvPr>
          <p:cNvSpPr/>
          <p:nvPr/>
        </p:nvSpPr>
        <p:spPr>
          <a:xfrm>
            <a:off x="10317603" y="4734458"/>
            <a:ext cx="216000" cy="216000"/>
          </a:xfrm>
          <a:prstGeom prst="rect">
            <a:avLst/>
          </a:prstGeom>
          <a:solidFill>
            <a:srgbClr val="F12E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44">
            <a:extLst>
              <a:ext uri="{FF2B5EF4-FFF2-40B4-BE49-F238E27FC236}">
                <a16:creationId xmlns:a16="http://schemas.microsoft.com/office/drawing/2014/main" id="{1121FC4E-443B-4EF1-9D06-F5B59E16132D}"/>
              </a:ext>
            </a:extLst>
          </p:cNvPr>
          <p:cNvSpPr/>
          <p:nvPr/>
        </p:nvSpPr>
        <p:spPr>
          <a:xfrm>
            <a:off x="10317603" y="5047603"/>
            <a:ext cx="216000" cy="216000"/>
          </a:xfrm>
          <a:prstGeom prst="rect">
            <a:avLst/>
          </a:prstGeom>
          <a:solidFill>
            <a:srgbClr val="FF7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5">
            <a:extLst>
              <a:ext uri="{FF2B5EF4-FFF2-40B4-BE49-F238E27FC236}">
                <a16:creationId xmlns:a16="http://schemas.microsoft.com/office/drawing/2014/main" id="{B83A8BBE-CC10-4AB7-94CE-1E134F24E295}"/>
              </a:ext>
            </a:extLst>
          </p:cNvPr>
          <p:cNvSpPr/>
          <p:nvPr/>
        </p:nvSpPr>
        <p:spPr>
          <a:xfrm>
            <a:off x="10317603" y="5360748"/>
            <a:ext cx="216000" cy="216000"/>
          </a:xfrm>
          <a:prstGeom prst="rect">
            <a:avLst/>
          </a:prstGeom>
          <a:solidFill>
            <a:srgbClr val="FB9A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46">
            <a:extLst>
              <a:ext uri="{FF2B5EF4-FFF2-40B4-BE49-F238E27FC236}">
                <a16:creationId xmlns:a16="http://schemas.microsoft.com/office/drawing/2014/main" id="{E8931E4B-1B61-4447-BE29-01234161876D}"/>
              </a:ext>
            </a:extLst>
          </p:cNvPr>
          <p:cNvSpPr/>
          <p:nvPr/>
        </p:nvSpPr>
        <p:spPr>
          <a:xfrm>
            <a:off x="10317603" y="5673893"/>
            <a:ext cx="216000" cy="216000"/>
          </a:xfrm>
          <a:prstGeom prst="rect">
            <a:avLst/>
          </a:prstGeom>
          <a:solidFill>
            <a:srgbClr val="E7E7E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10">
            <a:extLst>
              <a:ext uri="{FF2B5EF4-FFF2-40B4-BE49-F238E27FC236}">
                <a16:creationId xmlns:a16="http://schemas.microsoft.com/office/drawing/2014/main" id="{AE8CFCCF-2072-4F53-9779-AB66D31F9BF2}"/>
              </a:ext>
            </a:extLst>
          </p:cNvPr>
          <p:cNvSpPr txBox="1"/>
          <p:nvPr/>
        </p:nvSpPr>
        <p:spPr>
          <a:xfrm>
            <a:off x="10601689" y="4657792"/>
            <a:ext cx="635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lt; 5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Box 47">
            <a:extLst>
              <a:ext uri="{FF2B5EF4-FFF2-40B4-BE49-F238E27FC236}">
                <a16:creationId xmlns:a16="http://schemas.microsoft.com/office/drawing/2014/main" id="{B6D8743B-FCD1-4A85-822A-E0ECDDF5CC92}"/>
              </a:ext>
            </a:extLst>
          </p:cNvPr>
          <p:cNvSpPr txBox="1"/>
          <p:nvPr/>
        </p:nvSpPr>
        <p:spPr>
          <a:xfrm>
            <a:off x="10601689" y="4970937"/>
            <a:ext cx="10422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% - 10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48">
            <a:extLst>
              <a:ext uri="{FF2B5EF4-FFF2-40B4-BE49-F238E27FC236}">
                <a16:creationId xmlns:a16="http://schemas.microsoft.com/office/drawing/2014/main" id="{F12DAE32-1EC1-4940-A668-03CCF6C3268C}"/>
              </a:ext>
            </a:extLst>
          </p:cNvPr>
          <p:cNvSpPr txBox="1"/>
          <p:nvPr/>
        </p:nvSpPr>
        <p:spPr>
          <a:xfrm>
            <a:off x="10601689" y="5280863"/>
            <a:ext cx="115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% - 20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49">
            <a:extLst>
              <a:ext uri="{FF2B5EF4-FFF2-40B4-BE49-F238E27FC236}">
                <a16:creationId xmlns:a16="http://schemas.microsoft.com/office/drawing/2014/main" id="{635A2C42-212C-4478-AF7B-6A75B9FE8632}"/>
              </a:ext>
            </a:extLst>
          </p:cNvPr>
          <p:cNvSpPr txBox="1"/>
          <p:nvPr/>
        </p:nvSpPr>
        <p:spPr>
          <a:xfrm>
            <a:off x="10601689" y="5599447"/>
            <a:ext cx="7521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20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Šipka doprava 29"/>
          <p:cNvSpPr/>
          <p:nvPr/>
        </p:nvSpPr>
        <p:spPr>
          <a:xfrm>
            <a:off x="4394743" y="4920982"/>
            <a:ext cx="405492" cy="93943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78972B87-A46D-43B7-A956-9DE448F30EF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31950" y="3871942"/>
            <a:ext cx="3436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1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6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3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</p:spTree>
    <p:extLst>
      <p:ext uri="{BB962C8B-B14F-4D97-AF65-F5344CB8AC3E}">
        <p14:creationId xmlns:p14="http://schemas.microsoft.com/office/powerpoint/2010/main" val="36353326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</a:t>
            </a:r>
            <a:r>
              <a:rPr lang="cs-CZ" sz="2800" dirty="0" smtClean="0"/>
              <a:t>péče – stav k 23.3. 2021</a:t>
            </a: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48799" y="2400085"/>
            <a:ext cx="2394066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3.3.2021 00:1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799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/>
        </p:nvGraphicFramePr>
        <p:xfrm>
          <a:off x="332817" y="1055712"/>
          <a:ext cx="9193567" cy="5289908"/>
        </p:xfrm>
        <a:graphic>
          <a:graphicData uri="http://schemas.openxmlformats.org/drawingml/2006/table">
            <a:tbl>
              <a:tblPr/>
              <a:tblGrid>
                <a:gridCol w="1970794">
                  <a:extLst>
                    <a:ext uri="{9D8B030D-6E8A-4147-A177-3AD203B41FA5}">
                      <a16:colId xmlns:a16="http://schemas.microsoft.com/office/drawing/2014/main" val="3705858805"/>
                    </a:ext>
                  </a:extLst>
                </a:gridCol>
                <a:gridCol w="1251298">
                  <a:extLst>
                    <a:ext uri="{9D8B030D-6E8A-4147-A177-3AD203B41FA5}">
                      <a16:colId xmlns:a16="http://schemas.microsoft.com/office/drawing/2014/main" val="552705038"/>
                    </a:ext>
                  </a:extLst>
                </a:gridCol>
                <a:gridCol w="1157451">
                  <a:extLst>
                    <a:ext uri="{9D8B030D-6E8A-4147-A177-3AD203B41FA5}">
                      <a16:colId xmlns:a16="http://schemas.microsoft.com/office/drawing/2014/main" val="4197860039"/>
                    </a:ext>
                  </a:extLst>
                </a:gridCol>
                <a:gridCol w="1112266">
                  <a:extLst>
                    <a:ext uri="{9D8B030D-6E8A-4147-A177-3AD203B41FA5}">
                      <a16:colId xmlns:a16="http://schemas.microsoft.com/office/drawing/2014/main" val="1401959838"/>
                    </a:ext>
                  </a:extLst>
                </a:gridCol>
                <a:gridCol w="1334718">
                  <a:extLst>
                    <a:ext uri="{9D8B030D-6E8A-4147-A177-3AD203B41FA5}">
                      <a16:colId xmlns:a16="http://schemas.microsoft.com/office/drawing/2014/main" val="2971116227"/>
                    </a:ext>
                  </a:extLst>
                </a:gridCol>
                <a:gridCol w="1334718">
                  <a:extLst>
                    <a:ext uri="{9D8B030D-6E8A-4147-A177-3AD203B41FA5}">
                      <a16:colId xmlns:a16="http://schemas.microsoft.com/office/drawing/2014/main" val="467833792"/>
                    </a:ext>
                  </a:extLst>
                </a:gridCol>
                <a:gridCol w="1032322">
                  <a:extLst>
                    <a:ext uri="{9D8B030D-6E8A-4147-A177-3AD203B41FA5}">
                      <a16:colId xmlns:a16="http://schemas.microsoft.com/office/drawing/2014/main" val="1156427434"/>
                    </a:ext>
                  </a:extLst>
                </a:gridCol>
              </a:tblGrid>
              <a:tr h="225184">
                <a:tc gridSpan="7"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24.3. 2021, 5:30 h</a:t>
                      </a: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8221099"/>
                  </a:ext>
                </a:extLst>
              </a:tr>
              <a:tr h="188761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9374104"/>
                  </a:ext>
                </a:extLst>
              </a:tr>
              <a:tr h="2251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(ARO + JIP + počet plicních ventilátorů)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7107730"/>
                  </a:ext>
                </a:extLst>
              </a:tr>
              <a:tr h="45036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 Covid+ z volných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icních ventilátorů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filizovaná kap. plán.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. kap. skutečná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017833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75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695029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868741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171164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199277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1404207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0452015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176207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329917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436786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752664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922379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965244"/>
                  </a:ext>
                </a:extLst>
              </a:tr>
              <a:tr h="201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288921"/>
                  </a:ext>
                </a:extLst>
              </a:tr>
              <a:tr h="209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780280"/>
                  </a:ext>
                </a:extLst>
              </a:tr>
              <a:tr h="233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9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7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4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6578075"/>
                  </a:ext>
                </a:extLst>
              </a:tr>
              <a:tr h="193014"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UZIS</a:t>
                      </a: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0678483"/>
                  </a:ext>
                </a:extLst>
              </a:tr>
              <a:tr h="188761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480919"/>
                  </a:ext>
                </a:extLst>
              </a:tr>
              <a:tr h="36948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lných kapacit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0829491"/>
                  </a:ext>
                </a:extLst>
              </a:tr>
              <a:tr h="265394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9999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83219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8660" y="103163"/>
            <a:ext cx="11537512" cy="1951268"/>
          </a:xfrm>
        </p:spPr>
        <p:txBody>
          <a:bodyPr>
            <a:normAutofit lnSpcReduction="10000"/>
          </a:bodyPr>
          <a:lstStyle/>
          <a:p>
            <a:r>
              <a:rPr lang="cs-CZ" sz="3600" b="1" dirty="0" smtClean="0"/>
              <a:t>Ve shodě s dlouhodobými predikcemi došlo </a:t>
            </a:r>
          </a:p>
          <a:p>
            <a:r>
              <a:rPr lang="cs-CZ" sz="3600" b="1" dirty="0" smtClean="0"/>
              <a:t>v 2. polovině března k poklesu počtu</a:t>
            </a:r>
          </a:p>
          <a:p>
            <a:r>
              <a:rPr lang="cs-CZ" sz="3600" b="1" dirty="0" smtClean="0"/>
              <a:t> hospitalizovaných </a:t>
            </a:r>
            <a:endParaRPr lang="cs-CZ" sz="3600" b="1" dirty="0"/>
          </a:p>
        </p:txBody>
      </p:sp>
      <p:sp>
        <p:nvSpPr>
          <p:cNvPr id="5" name="TextovéPole 4"/>
          <p:cNvSpPr txBox="1"/>
          <p:nvPr/>
        </p:nvSpPr>
        <p:spPr>
          <a:xfrm>
            <a:off x="157740" y="2905066"/>
            <a:ext cx="1161934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vývoj sleduje pokles odpovídající zpomalování šíření epidemie v populaci při reprodukčním číslu 0,90. Počty hospitalizací tak reagují se zpožděním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ca 10 dnů na změnu v populačních trendech; nadále lze předpokládat další významný pokles. Počty pacientů vyžadující intenzivní péči klesají relativně pomaleji než počty na standardním lůžku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221413" y="2054431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21413" y="6017880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0043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 smtClean="0"/>
              <a:t>Vývoj epidemie v populačních datech</a:t>
            </a:r>
            <a:endParaRPr lang="cs-CZ" sz="5200" b="1" dirty="0"/>
          </a:p>
          <a:p>
            <a:r>
              <a:rPr lang="cs-CZ" sz="4000" i="1" dirty="0" smtClean="0"/>
              <a:t>Modely doplněné o reálné počty zachycených případů</a:t>
            </a:r>
          </a:p>
          <a:p>
            <a:r>
              <a:rPr lang="cs-CZ" sz="4000" i="1" dirty="0" smtClean="0"/>
              <a:t>(uzavřené hodnocení k 4. 4. 2021)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ý počet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í – aktuální počet léčených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1538548" y="1254190"/>
            <a:ext cx="3537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vývoj s doplněnými</a:t>
            </a:r>
            <a:r>
              <a:rPr kumimoji="0" lang="cs-CZ" sz="1800" b="1" i="1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y do 4.4. 2021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05712" y="3676712"/>
            <a:ext cx="2829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/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8AC5A7ED-6117-42BF-9335-E585AB18535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68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28705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/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ů vyžadujících intenzivní péči – aktuální počet případů 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18633" y="3603526"/>
            <a:ext cx="2829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um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94B8F569-42E9-4DFC-AB13-17A08A06FC1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26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2729AB25-48DA-4F5C-83BF-06265DE0A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CCB9DEA-BE2F-41F2-9527-398A4AE493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FE45D3A-BBC3-4C2E-831C-463D264AFE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2072430-1052-4511-9F5F-1D559DFBC97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9234C83-A7EB-4A39-B9AD-4DD2CF30EC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61BC7AB-AA91-4D6C-864A-A148C74092E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02CF92A-B107-4E0F-817F-50D75780D7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E8ADE306-C1BE-4AC3-AF4B-59A1E72603F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1538548" y="1254190"/>
            <a:ext cx="3537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vývoj s doplněnými</a:t>
            </a:r>
            <a:r>
              <a:rPr kumimoji="0" lang="cs-CZ" sz="1800" b="1" i="1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y do 4.4. 2021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64912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83584"/>
            <a:ext cx="11623781" cy="1583741"/>
          </a:xfrm>
        </p:spPr>
        <p:txBody>
          <a:bodyPr>
            <a:normAutofit fontScale="92500"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 smtClean="0"/>
              <a:t>Původní scénáře </a:t>
            </a:r>
            <a:r>
              <a:rPr lang="cs-CZ" sz="3000" i="1" dirty="0"/>
              <a:t>kalkulující s rychlým efektem přijatých opatření </a:t>
            </a:r>
            <a:r>
              <a:rPr lang="cs-CZ" sz="3000" i="1" dirty="0" smtClean="0"/>
              <a:t>po </a:t>
            </a:r>
            <a:r>
              <a:rPr lang="cs-CZ" sz="3000" i="1" dirty="0"/>
              <a:t>8.3.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107068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kulována silná změna v populačních trendech již od prvního týdne v březnu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následným pozitivním dopadem na zátěž nemocnic od cca 14.3. 2021. </a:t>
            </a:r>
            <a:r>
              <a:rPr lang="cs-CZ" dirty="0" smtClean="0">
                <a:solidFill>
                  <a:prstClr val="black"/>
                </a:solidFill>
                <a:latin typeface="Calibri" panose="020F0502020204030204"/>
              </a:rPr>
              <a:t>Kapitola hodnotí původní modely, ve kterých ještě není uvažován vliv vakcinac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1381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a zdravotních dopadů: modely kalkulující s rychlým efektem přijatých opatře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</a:t>
            </a: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3. 2021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730220" y="2505549"/>
            <a:ext cx="104181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kumimoji="0" lang="cs-CZ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 zabudován předpoklad relativně rychlé změny 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čních trendech již od počátku března, s pozitivním dopadem na zátěž nemocnic od cca 14.3. 2021. Zátěž nemocnic </a:t>
            </a:r>
            <a:r>
              <a:rPr kumimoji="0" lang="cs-CZ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lminovala 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ž do poloviny března.  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119202" y="3931769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6" y="4886432"/>
            <a:ext cx="1122158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kern="0" dirty="0" smtClean="0">
                <a:solidFill>
                  <a:srgbClr val="C00000"/>
                </a:solidFill>
                <a:latin typeface="Calibri" panose="020F0502020204030204"/>
              </a:rPr>
              <a:t>Tyto scénáře se dle předpokladů naplnily a epidemie začala na populační úrovni významně zpomalovat již v 1. polovině března. Pozitivní dopad na zátěž nemocnic avšak nastal až po 15. březnu.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ůvodem 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ě dlouhodobé zátěže nemocnic je stále vysoký denní počet nově nakažených pacientů z potenciálně zranitelných skupin. </a:t>
            </a:r>
          </a:p>
        </p:txBody>
      </p:sp>
    </p:spTree>
    <p:extLst>
      <p:ext uri="{BB962C8B-B14F-4D97-AF65-F5344CB8AC3E}">
        <p14:creationId xmlns:p14="http://schemas.microsoft.com/office/powerpoint/2010/main" val="13920703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a zdravotních dopadů: modely kalkulující s rychlým efektem přijatých opatře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</a:t>
            </a: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3. 2021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226241" y="2550863"/>
            <a:ext cx="1982772" cy="92333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lová změna nebo rozvolnění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226241" y="4116257"/>
            <a:ext cx="1982772" cy="92333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ržení a částeč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226241" y="5772182"/>
            <a:ext cx="1982772" cy="92333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2328419" y="2458530"/>
            <a:ext cx="69758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pro kontinuální nárůst celkového počtu hospitalizovaných v březnu až k hranici &gt; 14 000, přičemž na JIP reálně hrozí počet až 2 000 hospitalizací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2328419" y="4023924"/>
            <a:ext cx="69758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tinuální nárůst celkového počtu hospitalizovaných na počátku března až k hranici &gt; 8 000, od druhé poloviny března postupný sestup. Počty na JIP pravděpodobně překročí hranici 1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0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2328419" y="5679849"/>
            <a:ext cx="69758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nárůst celkového počtu hospitalizovaných na počátku března až k hranici &gt; 8 000, od druhé poloviny března zrychlený sestup. Počty na JIP pravděpodobně nepřekročí hranici 1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0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9210675" y="2408096"/>
            <a:ext cx="2893807" cy="4247317"/>
          </a:xfrm>
          <a:prstGeom prst="rect">
            <a:avLst/>
          </a:prstGeom>
          <a:solidFill>
            <a:srgbClr val="EAEFF7"/>
          </a:solidFill>
          <a:ln w="12700"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kulována silná změna v populačních trendech již od prvního týdne v březnu, s následným pozitivním dopadem na zátěž nemocnic od cca 14.3. 2021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A </a:t>
            </a:r>
            <a:r>
              <a:rPr kumimoji="0" lang="cs-CZ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oužil pouze </a:t>
            </a: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ko referenční modelový popis nekontrolované eskalace epidemie. Vzhledem k přijatým opatřením </a:t>
            </a:r>
            <a:r>
              <a:rPr lang="cs-CZ" i="1" dirty="0" smtClean="0">
                <a:solidFill>
                  <a:srgbClr val="FF0000"/>
                </a:solidFill>
                <a:latin typeface="Calibri" panose="020F0502020204030204"/>
              </a:rPr>
              <a:t>se </a:t>
            </a:r>
            <a:r>
              <a:rPr kumimoji="0" lang="cs-CZ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to </a:t>
            </a: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l nereálným. 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63915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Scénáře dlouhodobých simulací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173293" y="1222036"/>
            <a:ext cx="3867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69188"/>
            <a:ext cx="5457506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A: nekontrolované šíření nákaz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ě nepravděpodobný scénář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78093"/>
            <a:ext cx="5457506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C: významné posílení a akceptace opatření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9474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>
            <a:cxnSpLocks/>
          </p:cNvCxnSpPr>
          <p:nvPr/>
        </p:nvCxnSpPr>
        <p:spPr>
          <a:xfrm>
            <a:off x="4154743" y="153365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4">
            <a:extLst>
              <a:ext uri="{FF2B5EF4-FFF2-40B4-BE49-F238E27FC236}">
                <a16:creationId xmlns:a16="http://schemas.microsoft.com/office/drawing/2014/main" id="{3E256F39-56D6-4974-B02C-6BB28A4AE5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5740589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 rot="16200000">
            <a:off x="-1104682" y="3957632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3640751" y="252585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672572" y="2904001"/>
            <a:ext cx="42893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A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377827" y="3057123"/>
            <a:ext cx="237744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1672572" y="3129221"/>
            <a:ext cx="5121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B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377827" y="3280430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377827" y="3503736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664715" y="3354440"/>
            <a:ext cx="551332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B/C ze dne 5. 3. 2021)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EC2E5B1-B35C-4A11-BE1C-FD9BF9AC4A4C}"/>
              </a:ext>
            </a:extLst>
          </p:cNvPr>
          <p:cNvSpPr txBox="1"/>
          <p:nvPr/>
        </p:nvSpPr>
        <p:spPr>
          <a:xfrm>
            <a:off x="3937931" y="249008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uzavřenému dni 3. 4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6EEA274C-11C0-44A4-ACD0-1E27B6DF33C3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4064901D-9634-44BE-B1F1-F76E2972770B}"/>
              </a:ext>
            </a:extLst>
          </p:cNvPr>
          <p:cNvSpPr txBox="1"/>
          <p:nvPr/>
        </p:nvSpPr>
        <p:spPr>
          <a:xfrm>
            <a:off x="4792918" y="1458181"/>
            <a:ext cx="5457506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B: udržení a částečné posílení opatření</a:t>
            </a:r>
          </a:p>
        </p:txBody>
      </p: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CF077908-2778-4B42-A3BC-EE47529C7AAF}"/>
              </a:ext>
            </a:extLst>
          </p:cNvPr>
          <p:cNvCxnSpPr>
            <a:cxnSpLocks/>
          </p:cNvCxnSpPr>
          <p:nvPr/>
        </p:nvCxnSpPr>
        <p:spPr>
          <a:xfrm>
            <a:off x="4154743" y="1491889"/>
            <a:ext cx="523875" cy="1420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97676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3" name="Obdélník 34">
            <a:extLst>
              <a:ext uri="{FF2B5EF4-FFF2-40B4-BE49-F238E27FC236}">
                <a16:creationId xmlns:a16="http://schemas.microsoft.com/office/drawing/2014/main" id="{10A758A9-D40B-4B7F-8B07-A73E8D4EED72}"/>
              </a:ext>
            </a:extLst>
          </p:cNvPr>
          <p:cNvSpPr/>
          <p:nvPr/>
        </p:nvSpPr>
        <p:spPr>
          <a:xfrm>
            <a:off x="8200670" y="1001503"/>
            <a:ext cx="3999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A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28.12. - snížení pracovních kontaktů na 40 %, školní kontakty na 0 %, snížení jiných kontaktů na 40 %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žení základní reprodukce o 10%, školní kontakty na 30 % od 4.1.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nekontrolovaná eskalace epidemie bez opatření (simulace šíření nakažlivějších forem viru, simulace nedodržování opatření) </a:t>
            </a:r>
          </a:p>
        </p:txBody>
      </p:sp>
      <p:sp>
        <p:nvSpPr>
          <p:cNvPr id="14" name="Obdélník 34">
            <a:extLst>
              <a:ext uri="{FF2B5EF4-FFF2-40B4-BE49-F238E27FC236}">
                <a16:creationId xmlns:a16="http://schemas.microsoft.com/office/drawing/2014/main" id="{AD3134CF-04A5-46A6-97BA-A406137FE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00670" y="321418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B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šíření nakažlivějších forem viru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30 %, školní kontakty na 0 %, postupné snížení jiných kontaktů na 30 % s dalším efektem opatření přijatých od 1.3. </a:t>
            </a:r>
          </a:p>
        </p:txBody>
      </p:sp>
      <p:sp>
        <p:nvSpPr>
          <p:cNvPr id="15" name="Obdélník 34">
            <a:extLst>
              <a:ext uri="{FF2B5EF4-FFF2-40B4-BE49-F238E27FC236}">
                <a16:creationId xmlns:a16="http://schemas.microsoft.com/office/drawing/2014/main" id="{C639DFA8-B71E-4FE7-9F76-FA4A424103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200670" y="528790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CD6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C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zavedení emergentní mutace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%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ní kontakty na 0 %, snížení jiný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- 25%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dalším efektem opatření přijatých od 1.3. 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10348107" y="775170"/>
            <a:ext cx="1515221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lová změna nebo rozvolnění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10456748" y="2998737"/>
            <a:ext cx="1515221" cy="43088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držení a částeč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11"/>
          <p:cNvSpPr txBox="1"/>
          <p:nvPr/>
        </p:nvSpPr>
        <p:spPr>
          <a:xfrm>
            <a:off x="10456748" y="5072457"/>
            <a:ext cx="1515221" cy="43088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15"/>
          <p:cNvSpPr txBox="1"/>
          <p:nvPr/>
        </p:nvSpPr>
        <p:spPr>
          <a:xfrm>
            <a:off x="4866326" y="1464204"/>
            <a:ext cx="2587420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pravděpodobný scénář: nekontrolované šíření nákazy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5966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97FCDE3-750D-44E8-975C-7E77DD5F49D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0B364D7-B9DD-4ACF-A330-0F27E8BA3BF5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3" name="Obdélník 34">
            <a:extLst>
              <a:ext uri="{FF2B5EF4-FFF2-40B4-BE49-F238E27FC236}">
                <a16:creationId xmlns:a16="http://schemas.microsoft.com/office/drawing/2014/main" id="{10A758A9-D40B-4B7F-8B07-A73E8D4EED72}"/>
              </a:ext>
            </a:extLst>
          </p:cNvPr>
          <p:cNvSpPr/>
          <p:nvPr/>
        </p:nvSpPr>
        <p:spPr>
          <a:xfrm>
            <a:off x="8200670" y="1001503"/>
            <a:ext cx="3999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A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28.12. - snížení pracovních kontaktů na 40 %, školní kontakty na 0 %, snížení jiných kontaktů na 40 %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žení základní reprodukce o 10%, školní kontakty na 30 % od 4.1.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nekontrolovaná eskalace epidemie bez opatření (simulace šíření nakažlivějších forem viru, simulace nedodržování opatření) </a:t>
            </a:r>
          </a:p>
        </p:txBody>
      </p:sp>
      <p:sp>
        <p:nvSpPr>
          <p:cNvPr id="14" name="Obdélník 34">
            <a:extLst>
              <a:ext uri="{FF2B5EF4-FFF2-40B4-BE49-F238E27FC236}">
                <a16:creationId xmlns:a16="http://schemas.microsoft.com/office/drawing/2014/main" id="{AD3134CF-04A5-46A6-97BA-A406137FE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00670" y="321418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B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šíření nakažlivějších forem viru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30 %, školní kontakty na 0 %, postupné snížení jiných kontaktů na 30 % s dalším efektem opatření přijatých od 1.3. </a:t>
            </a:r>
          </a:p>
        </p:txBody>
      </p:sp>
      <p:sp>
        <p:nvSpPr>
          <p:cNvPr id="15" name="Obdélník 34">
            <a:extLst>
              <a:ext uri="{FF2B5EF4-FFF2-40B4-BE49-F238E27FC236}">
                <a16:creationId xmlns:a16="http://schemas.microsoft.com/office/drawing/2014/main" id="{C639DFA8-B71E-4FE7-9F76-FA4A424103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200670" y="528790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CD6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C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zavedení emergentní mutace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%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ní kontakty na 0 %, snížení jiný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- 25%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dalším efektem opatření přijatých od 1.3. </a:t>
            </a:r>
          </a:p>
        </p:txBody>
      </p:sp>
      <p:sp>
        <p:nvSpPr>
          <p:cNvPr id="20" name="TextovéPole 19"/>
          <p:cNvSpPr txBox="1"/>
          <p:nvPr/>
        </p:nvSpPr>
        <p:spPr>
          <a:xfrm>
            <a:off x="10348107" y="775170"/>
            <a:ext cx="1515221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lová změna nebo rozvolnění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ovéPole 20"/>
          <p:cNvSpPr txBox="1"/>
          <p:nvPr/>
        </p:nvSpPr>
        <p:spPr>
          <a:xfrm>
            <a:off x="10456748" y="2998737"/>
            <a:ext cx="1515221" cy="43088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držení a částeč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/>
          <p:cNvSpPr txBox="1"/>
          <p:nvPr/>
        </p:nvSpPr>
        <p:spPr>
          <a:xfrm>
            <a:off x="10456748" y="5072457"/>
            <a:ext cx="1515221" cy="43088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15"/>
          <p:cNvSpPr txBox="1"/>
          <p:nvPr/>
        </p:nvSpPr>
        <p:spPr>
          <a:xfrm>
            <a:off x="4792435" y="1944494"/>
            <a:ext cx="2587420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pravděpodobný scénář: nekontrolované šíření nákazy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02876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nových hospitalizačních</a:t>
            </a:r>
            <a:r>
              <a:rPr lang="cs-CZ" dirty="0">
                <a:latin typeface="+mj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9979722-FAC9-406B-8A3F-5B8455800EFA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93BCB8F-8668-482B-AE73-37F5C6048A3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6" name="Obdélník 34">
            <a:extLst>
              <a:ext uri="{FF2B5EF4-FFF2-40B4-BE49-F238E27FC236}">
                <a16:creationId xmlns:a16="http://schemas.microsoft.com/office/drawing/2014/main" id="{10A758A9-D40B-4B7F-8B07-A73E8D4EED72}"/>
              </a:ext>
            </a:extLst>
          </p:cNvPr>
          <p:cNvSpPr/>
          <p:nvPr/>
        </p:nvSpPr>
        <p:spPr>
          <a:xfrm>
            <a:off x="8200670" y="1001503"/>
            <a:ext cx="3999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A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28.12. - snížení pracovních kontaktů na 40 %, školní kontakty na 0 %, snížení jiných kontaktů na 40 %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žení základní reprodukce o 10%, školní kontakty na 30 % od 4.1.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nekontrolovaná eskalace epidemie bez opatření (simulace šíření nakažlivějších forem viru, simulace nedodržování opatření) </a:t>
            </a:r>
          </a:p>
        </p:txBody>
      </p:sp>
      <p:sp>
        <p:nvSpPr>
          <p:cNvPr id="17" name="Obdélník 34">
            <a:extLst>
              <a:ext uri="{FF2B5EF4-FFF2-40B4-BE49-F238E27FC236}">
                <a16:creationId xmlns:a16="http://schemas.microsoft.com/office/drawing/2014/main" id="{AD3134CF-04A5-46A6-97BA-A406137FE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00670" y="321418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B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šíření nakažlivějších forem viru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30 %, školní kontakty na 0 %, postupné snížení jiných kontaktů na 30 % s dalším efektem opatření přijatých od 1.3. </a:t>
            </a:r>
          </a:p>
        </p:txBody>
      </p:sp>
      <p:sp>
        <p:nvSpPr>
          <p:cNvPr id="19" name="Obdélník 34">
            <a:extLst>
              <a:ext uri="{FF2B5EF4-FFF2-40B4-BE49-F238E27FC236}">
                <a16:creationId xmlns:a16="http://schemas.microsoft.com/office/drawing/2014/main" id="{C639DFA8-B71E-4FE7-9F76-FA4A424103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200670" y="528790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CD6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C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zavedení emergentní mutace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%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ní kontakty na 0 %, snížení jiný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- 25%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dalším efektem opatření přijatých od 1.3. </a:t>
            </a:r>
          </a:p>
        </p:txBody>
      </p:sp>
      <p:sp>
        <p:nvSpPr>
          <p:cNvPr id="20" name="TextovéPole 19"/>
          <p:cNvSpPr txBox="1"/>
          <p:nvPr/>
        </p:nvSpPr>
        <p:spPr>
          <a:xfrm>
            <a:off x="10348107" y="775170"/>
            <a:ext cx="1515221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lová změna nebo rozvolnění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ovéPole 20"/>
          <p:cNvSpPr txBox="1"/>
          <p:nvPr/>
        </p:nvSpPr>
        <p:spPr>
          <a:xfrm>
            <a:off x="10456748" y="2998737"/>
            <a:ext cx="1515221" cy="43088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držení a částeč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/>
          <p:cNvSpPr txBox="1"/>
          <p:nvPr/>
        </p:nvSpPr>
        <p:spPr>
          <a:xfrm>
            <a:off x="10456748" y="5072457"/>
            <a:ext cx="1515221" cy="43088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90405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zemřelých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AC5B2EB-297A-430D-BC3A-CC7273424F67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5F94ECE-5E3C-436E-B567-3B2634216AE7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4" name="Obdélník 34">
            <a:extLst>
              <a:ext uri="{FF2B5EF4-FFF2-40B4-BE49-F238E27FC236}">
                <a16:creationId xmlns:a16="http://schemas.microsoft.com/office/drawing/2014/main" id="{10A758A9-D40B-4B7F-8B07-A73E8D4EED72}"/>
              </a:ext>
            </a:extLst>
          </p:cNvPr>
          <p:cNvSpPr/>
          <p:nvPr/>
        </p:nvSpPr>
        <p:spPr>
          <a:xfrm>
            <a:off x="8200670" y="1001503"/>
            <a:ext cx="3999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A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28.12. - snížení pracovních kontaktů na 40 %, školní kontakty na 0 %, snížení jiných kontaktů na 40 %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žení základní reprodukce o 10%, školní kontakty na 30 % od 4.1.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nekontrolovaná eskalace epidemie bez opatření (simulace šíření nakažlivějších forem viru, simulace nedodržování opatření) </a:t>
            </a:r>
          </a:p>
        </p:txBody>
      </p:sp>
      <p:sp>
        <p:nvSpPr>
          <p:cNvPr id="15" name="Obdélník 34">
            <a:extLst>
              <a:ext uri="{FF2B5EF4-FFF2-40B4-BE49-F238E27FC236}">
                <a16:creationId xmlns:a16="http://schemas.microsoft.com/office/drawing/2014/main" id="{AD3134CF-04A5-46A6-97BA-A406137FE2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200670" y="321418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B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šíření nakažlivějších forem viru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30 %, školní kontakty na 0 %, postupné snížení jiných kontaktů na 30 % s dalším efektem opatření přijatých od 1.3. </a:t>
            </a:r>
          </a:p>
        </p:txBody>
      </p:sp>
      <p:sp>
        <p:nvSpPr>
          <p:cNvPr id="19" name="Obdélník 34">
            <a:extLst>
              <a:ext uri="{FF2B5EF4-FFF2-40B4-BE49-F238E27FC236}">
                <a16:creationId xmlns:a16="http://schemas.microsoft.com/office/drawing/2014/main" id="{C639DFA8-B71E-4FE7-9F76-FA4A4241034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200670" y="528790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CD6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C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zavedení emergentní mutace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%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ní kontakty na 0 %, snížení jiný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- 25%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dalším efektem opatření přijatých od 1.3. </a:t>
            </a:r>
          </a:p>
        </p:txBody>
      </p:sp>
      <p:sp>
        <p:nvSpPr>
          <p:cNvPr id="20" name="TextovéPole 19"/>
          <p:cNvSpPr txBox="1"/>
          <p:nvPr/>
        </p:nvSpPr>
        <p:spPr>
          <a:xfrm>
            <a:off x="10348107" y="775170"/>
            <a:ext cx="1515221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lová změna nebo rozvolnění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ovéPole 20"/>
          <p:cNvSpPr txBox="1"/>
          <p:nvPr/>
        </p:nvSpPr>
        <p:spPr>
          <a:xfrm>
            <a:off x="10456748" y="2998737"/>
            <a:ext cx="1515221" cy="43088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držení a částeč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/>
          <p:cNvSpPr txBox="1"/>
          <p:nvPr/>
        </p:nvSpPr>
        <p:spPr>
          <a:xfrm>
            <a:off x="10456748" y="5072457"/>
            <a:ext cx="1515221" cy="43088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9067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75414" y="320512"/>
            <a:ext cx="1202231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</a:t>
            </a:r>
            <a:r>
              <a:rPr kumimoji="0" lang="cs-CZ" sz="26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ce dle modelů SIR kalibrované na počátku března 2021 pro různé scénáře vývoje. Reálná data a vývoj potvrdily rychlé zpomalování epidemie odpovídající reprodukčnímu číslu &lt; 0,85. Mezi-týdenní pokles počtu nových případů dosahuje relativní změny – 24%.  </a:t>
            </a:r>
            <a:endParaRPr kumimoji="0" lang="cs-CZ" sz="2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246" y="2202485"/>
            <a:ext cx="10847093" cy="3990926"/>
          </a:xfrm>
        </p:spPr>
        <p:txBody>
          <a:bodyPr>
            <a:noAutofit/>
          </a:bodyPr>
          <a:lstStyle/>
          <a:p>
            <a:pPr algn="ctr"/>
            <a:r>
              <a:rPr lang="cs-CZ" sz="2200" b="1" dirty="0" smtClean="0">
                <a:solidFill>
                  <a:srgbClr val="00B050"/>
                </a:solidFill>
              </a:rPr>
              <a:t>Scénář </a:t>
            </a:r>
            <a:r>
              <a:rPr lang="en-US" sz="2200" b="1" dirty="0">
                <a:solidFill>
                  <a:srgbClr val="00B050"/>
                </a:solidFill>
              </a:rPr>
              <a:t>A</a:t>
            </a:r>
            <a:r>
              <a:rPr lang="cs-CZ" sz="2200" b="1" dirty="0">
                <a:solidFill>
                  <a:srgbClr val="00B050"/>
                </a:solidFill>
              </a:rPr>
              <a:t> (scénář zpomalení epidemie; předpokládané R = </a:t>
            </a:r>
            <a:r>
              <a:rPr lang="en-US" sz="2200" b="1" dirty="0">
                <a:solidFill>
                  <a:srgbClr val="00B050"/>
                </a:solidFill>
              </a:rPr>
              <a:t>0,</a:t>
            </a:r>
            <a:r>
              <a:rPr lang="cs-CZ" sz="2200" b="1" dirty="0">
                <a:solidFill>
                  <a:srgbClr val="00B050"/>
                </a:solidFill>
              </a:rPr>
              <a:t>80)</a:t>
            </a:r>
          </a:p>
          <a:p>
            <a:pPr lvl="1" algn="ctr"/>
            <a:r>
              <a:rPr lang="en-US" sz="2200" dirty="0"/>
              <a:t>dal</a:t>
            </a:r>
            <a:r>
              <a:rPr lang="cs-CZ" sz="2200" dirty="0" err="1"/>
              <a:t>ší</a:t>
            </a:r>
            <a:r>
              <a:rPr lang="cs-CZ" sz="2200" dirty="0"/>
              <a:t> výrazný dopad opatření účinných od 1. 3. </a:t>
            </a:r>
            <a:r>
              <a:rPr lang="cs-CZ" sz="2200" dirty="0" smtClean="0"/>
              <a:t>2021</a:t>
            </a:r>
            <a:endParaRPr lang="cs-CZ" sz="2200" dirty="0"/>
          </a:p>
          <a:p>
            <a:pPr algn="ctr"/>
            <a:r>
              <a:rPr lang="cs-CZ" sz="2200" b="1" dirty="0">
                <a:solidFill>
                  <a:srgbClr val="0070C0"/>
                </a:solidFill>
              </a:rPr>
              <a:t>Scénář B (scénář zpomalení epidemie; předpokládané R = 0,90)</a:t>
            </a:r>
          </a:p>
          <a:p>
            <a:pPr lvl="1" algn="ctr"/>
            <a:r>
              <a:rPr lang="cs-CZ" sz="2200" dirty="0"/>
              <a:t>další dílčí dopad opatření účinných od 1. 3. 2021</a:t>
            </a:r>
          </a:p>
          <a:p>
            <a:pPr algn="ctr"/>
            <a:r>
              <a:rPr lang="cs-CZ" sz="2200" b="1" dirty="0">
                <a:solidFill>
                  <a:srgbClr val="FFC618"/>
                </a:solidFill>
              </a:rPr>
              <a:t>Scénář C (</a:t>
            </a:r>
            <a:r>
              <a:rPr lang="en-US" sz="2200" b="1" dirty="0" err="1">
                <a:solidFill>
                  <a:srgbClr val="FFC618"/>
                </a:solidFill>
              </a:rPr>
              <a:t>rizikov</a:t>
            </a:r>
            <a:r>
              <a:rPr lang="cs-CZ" sz="2200" b="1" dirty="0">
                <a:solidFill>
                  <a:srgbClr val="FFC618"/>
                </a:solidFill>
              </a:rPr>
              <a:t>ý scénář, předpokládané R = 1,10)</a:t>
            </a:r>
          </a:p>
          <a:p>
            <a:pPr lvl="1" algn="ctr"/>
            <a:r>
              <a:rPr lang="cs-CZ" sz="2200" dirty="0"/>
              <a:t>zhoršení situace v důsledku snížení akceptace opatření populací, vlivu emergentních (mutovaných) variant SARS-CoV-2 apod. </a:t>
            </a:r>
          </a:p>
          <a:p>
            <a:pPr algn="ctr"/>
            <a:r>
              <a:rPr lang="cs-CZ" sz="2200" b="1" dirty="0">
                <a:solidFill>
                  <a:srgbClr val="FF0000"/>
                </a:solidFill>
              </a:rPr>
              <a:t>Scénář D (velmi rizikový scénář, předpokládané R = 1,15)</a:t>
            </a:r>
          </a:p>
          <a:p>
            <a:pPr lvl="1" algn="ctr"/>
            <a:r>
              <a:rPr lang="cs-CZ" sz="2200" dirty="0"/>
              <a:t>výraznější zhoršení situace v důsledku snížení akceptace opatření populací, vlivu emergentních (mutovaných) variant SARS-CoV-2 apod.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599522" y="6071528"/>
            <a:ext cx="1159497" cy="42353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6695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375367" y="219993"/>
            <a:ext cx="1143461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á predikce pro další brždění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pokračování opatření v současném rozsahu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o 10.3. jednoznačně </a:t>
            </a:r>
            <a:r>
              <a:rPr kumimoji="0" lang="cs-CZ" sz="2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malila </a:t>
            </a:r>
            <a:r>
              <a:rPr kumimoji="0" lang="cs-CZ" sz="2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virová nálož začala klesat. Aktuální hodnota reprodukčního čísla je </a:t>
            </a:r>
            <a:r>
              <a:rPr lang="cs-CZ" sz="2600" kern="0" dirty="0" smtClean="0">
                <a:solidFill>
                  <a:prstClr val="black"/>
                </a:solidFill>
                <a:latin typeface="Calibri" panose="020F0502020204030204"/>
              </a:rPr>
              <a:t>&lt; </a:t>
            </a:r>
            <a:r>
              <a:rPr kumimoji="0" lang="cs-CZ" sz="2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85. </a:t>
            </a:r>
            <a:r>
              <a:rPr kumimoji="0" lang="cs-CZ" sz="2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de o vývoj pozitivní, avšak stále se pohybující ve vysokých počtech denně potvrzovaných nákaz, a to zejména u potenciálně zranitelných osob, seniorů, chronicky nemocných, apod. Existují </a:t>
            </a:r>
            <a:r>
              <a:rPr kumimoji="0" lang="cs-CZ" sz="2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 </a:t>
            </a:r>
            <a:r>
              <a:rPr kumimoji="0" lang="cs-CZ" sz="2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, epidemie na východě republiky stále ještě vrcholí, i když v méně rizikových hodnotách než tomu bylo na západě a severu Čech. 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1773" y="4190311"/>
            <a:ext cx="1950226" cy="48298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716800" y="4740947"/>
            <a:ext cx="1084017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ud má dojít k podstatnému poklesu zátěže nemocnic, je nutné pokračovat v současných opatřeních minimálně do poloviny dubna. Úbytek počtu hospitalizací bude do konce března pozvolný, potom pravděpodobně zrychlí i vlivem pokračujícího očkování </a:t>
            </a:r>
            <a:r>
              <a:rPr kumimoji="0" lang="cs-CZ" sz="2400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ategorií pacientů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75515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rázek 18">
            <a:extLst>
              <a:ext uri="{FF2B5EF4-FFF2-40B4-BE49-F238E27FC236}">
                <a16:creationId xmlns:a16="http://schemas.microsoft.com/office/drawing/2014/main" id="{91EE3E24-5E10-4126-BCCC-724E3D7A8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095" y="152564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422928"/>
            <a:ext cx="9229366" cy="492443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stávajícího trendu v brždění epidemie</a:t>
            </a: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efekt opatření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2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7452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/>
          <p:cNvSpPr txBox="1"/>
          <p:nvPr/>
        </p:nvSpPr>
        <p:spPr>
          <a:xfrm>
            <a:off x="2023210" y="2534268"/>
            <a:ext cx="43478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vedená opatření jsou funkční a populační vývoj epidemie významně zpomaluje</a:t>
            </a:r>
          </a:p>
        </p:txBody>
      </p:sp>
      <p:cxnSp>
        <p:nvCxnSpPr>
          <p:cNvPr id="5" name="Přímá spojnice se šipkou 4"/>
          <p:cNvCxnSpPr/>
          <p:nvPr/>
        </p:nvCxnSpPr>
        <p:spPr>
          <a:xfrm>
            <a:off x="5920944" y="3015642"/>
            <a:ext cx="515333" cy="49466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59013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267855" y="219993"/>
            <a:ext cx="1154213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es pozitivní trendy a populační brždění epidemie po 8.3. 2021 stále v nejvíce zatížených okresech a regionech ČR přetrvávají velmi rizikové hodnoty klíčových indikátor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více zatížené okresy registrují 14denní počty nově potvrzených případ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hodnotách významně vyšších než </a:t>
            </a:r>
            <a:r>
              <a:rPr kumimoji="0" lang="cs-CZ" sz="2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</a:t>
            </a:r>
            <a:r>
              <a:rPr kumimoji="0" lang="cs-CZ" sz="2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0 / 100 tis. obyv. Relativní pozitivita klinicky a diagnosticky indikovaných testů v těchto lokalitách stále přesahuje 40%. Vysoká celková incidence je doprovázena vysokým počtem nově nakažených seniorů ve věkových třídách 65+ a 75+, což generuje nadprůměrnou zátěž nemocnic. 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1773" y="4190311"/>
            <a:ext cx="1950226" cy="48298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716800" y="4704078"/>
            <a:ext cx="1084017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čkoli tedy celkové populační trendy svědčí o brždění epidemie, stále registrujeme vysoký počet oblastí s velmi rizikovými hodnotami významných indikátorů. Neopatrné uvolnění přijatých opatření by mohlo vést k velmi rychlé opakované eskalaci rizikového šíření nákazy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61773" y="6304516"/>
            <a:ext cx="1950226" cy="48298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1670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442708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Nejvíce zatížené okresy dle nových případů za 14 dní na 100 000 obyvatel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BC17B0-C8F5-41C1-9847-DD0FB903D5E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30997" y="1514354"/>
          <a:ext cx="12060756" cy="5355633"/>
        </p:xfrm>
        <a:graphic>
          <a:graphicData uri="http://schemas.openxmlformats.org/drawingml/2006/table">
            <a:tbl>
              <a:tblPr/>
              <a:tblGrid>
                <a:gridCol w="3796932">
                  <a:extLst>
                    <a:ext uri="{9D8B030D-6E8A-4147-A177-3AD203B41FA5}">
                      <a16:colId xmlns:a16="http://schemas.microsoft.com/office/drawing/2014/main" val="2261931760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183146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372889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115339334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40841201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27163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2467353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472909798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2276695565"/>
                    </a:ext>
                  </a:extLst>
                </a:gridCol>
              </a:tblGrid>
              <a:tr h="27805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az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Líp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ndřichův Hrad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udi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toměř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hřimo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35023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9476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é případy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3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622696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é případy 65+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958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é případy 65+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98933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ktuálně hospitalizova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482689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ktuálně hospitalizovaní na JIP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611521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74976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397614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954158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02887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úmrt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6252463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úmrt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5230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testů za 7 dní s diagnost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28496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testů za 7 dní s epidemiolog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4062139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testů za 7 dní s preventivní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2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2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8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8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250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s </a:t>
                      </a:r>
                      <a:r>
                        <a:rPr lang="cs-CZ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agn</a:t>
                      </a:r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743114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s epidemiologickou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710000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s preventivní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29945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2D96FE6-536C-4631-B0D7-337D6BC1CD7D}"/>
              </a:ext>
            </a:extLst>
          </p:cNvPr>
          <p:cNvSpPr/>
          <p:nvPr/>
        </p:nvSpPr>
        <p:spPr>
          <a:xfrm>
            <a:off x="2601284" y="753610"/>
            <a:ext cx="615462" cy="202223"/>
          </a:xfrm>
          <a:prstGeom prst="rect">
            <a:avLst/>
          </a:prstGeom>
          <a:solidFill>
            <a:srgbClr val="FF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C5C294-81E0-427F-B8B2-D281ED0E6D9A}"/>
              </a:ext>
            </a:extLst>
          </p:cNvPr>
          <p:cNvSpPr txBox="1"/>
          <p:nvPr/>
        </p:nvSpPr>
        <p:spPr>
          <a:xfrm>
            <a:off x="3216746" y="709728"/>
            <a:ext cx="6205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 nejvíce zatížených okresů dle nových případů za 14 dní na 100 000 obyvatel </a:t>
            </a:r>
          </a:p>
        </p:txBody>
      </p:sp>
      <p:pic>
        <p:nvPicPr>
          <p:cNvPr id="7" name="Picture 6" descr="Map&#10;&#10;Description automatically generated">
            <a:extLst>
              <a:ext uri="{FF2B5EF4-FFF2-40B4-BE49-F238E27FC236}">
                <a16:creationId xmlns:a16="http://schemas.microsoft.com/office/drawing/2014/main" id="{ABEA3F93-9C7E-4145-8B34-36C447615FC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0" r="8269"/>
          <a:stretch/>
        </p:blipFill>
        <p:spPr>
          <a:xfrm>
            <a:off x="169705" y="709727"/>
            <a:ext cx="1747018" cy="110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1257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442708" cy="576000"/>
          </a:xfrm>
        </p:spPr>
        <p:txBody>
          <a:bodyPr/>
          <a:lstStyle/>
          <a:p>
            <a:r>
              <a:rPr lang="cs-CZ" dirty="0"/>
              <a:t>Nejvíce zatížené okresy </a:t>
            </a:r>
            <a:r>
              <a:rPr lang="cs-CZ" dirty="0">
                <a:latin typeface="+mj-lt"/>
              </a:rPr>
              <a:t>dle nových případů za 14 dní na 100 000 obyvatel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BC17B0-C8F5-41C1-9847-DD0FB903D5E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30997" y="1514354"/>
          <a:ext cx="12060756" cy="5355633"/>
        </p:xfrm>
        <a:graphic>
          <a:graphicData uri="http://schemas.openxmlformats.org/drawingml/2006/table">
            <a:tbl>
              <a:tblPr/>
              <a:tblGrid>
                <a:gridCol w="3796932">
                  <a:extLst>
                    <a:ext uri="{9D8B030D-6E8A-4147-A177-3AD203B41FA5}">
                      <a16:colId xmlns:a16="http://schemas.microsoft.com/office/drawing/2014/main" val="2261931760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183146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372889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115339334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40841201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27163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2467353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472909798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2276695565"/>
                    </a:ext>
                  </a:extLst>
                </a:gridCol>
              </a:tblGrid>
              <a:tr h="27805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az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lí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lav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í nad Lab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835023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9476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622696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958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98933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álně hospitalizova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482689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álně hospitalizovaní na JIP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611521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74976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397614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na JIP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954158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na JIP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02887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úmrt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6252463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úmrt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5230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testů za 7 dní s diagnost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28496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testů za 7 dní s epidemiolog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4062139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testů za 7 dní s preventivní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1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8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250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testů s diagnostickou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743114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testů s epidemiologickou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710000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testů s preventivní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29945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2D96FE6-536C-4631-B0D7-337D6BC1CD7D}"/>
              </a:ext>
            </a:extLst>
          </p:cNvPr>
          <p:cNvSpPr/>
          <p:nvPr/>
        </p:nvSpPr>
        <p:spPr>
          <a:xfrm>
            <a:off x="2601284" y="753610"/>
            <a:ext cx="615462" cy="202223"/>
          </a:xfrm>
          <a:prstGeom prst="rect">
            <a:avLst/>
          </a:prstGeom>
          <a:solidFill>
            <a:srgbClr val="FF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C5C294-81E0-427F-B8B2-D281ED0E6D9A}"/>
              </a:ext>
            </a:extLst>
          </p:cNvPr>
          <p:cNvSpPr txBox="1"/>
          <p:nvPr/>
        </p:nvSpPr>
        <p:spPr>
          <a:xfrm>
            <a:off x="3216746" y="709728"/>
            <a:ext cx="6205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 nejvíce zatížených okresů dle nových případů za 14 dní na 100 000 obyvatel 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FFE04A84-10CE-449F-8D1D-D03367BA020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0" r="8269"/>
          <a:stretch/>
        </p:blipFill>
        <p:spPr>
          <a:xfrm>
            <a:off x="169705" y="709727"/>
            <a:ext cx="1747018" cy="110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7573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150979D6-F17A-4225-BE63-B5B0F9AA83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95"/>
          <a:stretch/>
        </p:blipFill>
        <p:spPr>
          <a:xfrm>
            <a:off x="299852" y="1060049"/>
            <a:ext cx="3499468" cy="2144763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509040" y="4183455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509040" y="4492181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509040" y="4800907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509040" y="5109633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509040" y="5418359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/>
        </p:nvSpPr>
        <p:spPr>
          <a:xfrm>
            <a:off x="10748797" y="4088789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/>
        </p:nvSpPr>
        <p:spPr>
          <a:xfrm>
            <a:off x="10748797" y="440007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/>
        </p:nvSpPr>
        <p:spPr>
          <a:xfrm>
            <a:off x="10748797" y="471136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/>
        </p:nvSpPr>
        <p:spPr>
          <a:xfrm>
            <a:off x="10748797" y="5022659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/>
        </p:nvSpPr>
        <p:spPr>
          <a:xfrm>
            <a:off x="10748797" y="5333949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 1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509040" y="5727084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509040" y="6035808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/>
        </p:nvSpPr>
        <p:spPr>
          <a:xfrm>
            <a:off x="10748797" y="5645239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/>
        </p:nvSpPr>
        <p:spPr>
          <a:xfrm>
            <a:off x="10748797" y="595653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29">
            <a:extLst>
              <a:ext uri="{FF2B5EF4-FFF2-40B4-BE49-F238E27FC236}">
                <a16:creationId xmlns:a16="http://schemas.microsoft.com/office/drawing/2014/main" id="{1907CFD2-3ACF-4FB2-8859-B21D109FB07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9860" y="74183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2.2021</a:t>
            </a: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DF80813F-2BA1-459E-A80E-E647301050E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374853" y="715164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21" name="Picture 20" descr="Map&#10;&#10;Description automatically generated">
            <a:extLst>
              <a:ext uri="{FF2B5EF4-FFF2-40B4-BE49-F238E27FC236}">
                <a16:creationId xmlns:a16="http://schemas.microsoft.com/office/drawing/2014/main" id="{0398DECE-C66B-482B-903C-0526E4051B8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3" r="10441"/>
          <a:stretch/>
        </p:blipFill>
        <p:spPr>
          <a:xfrm>
            <a:off x="4292092" y="1041565"/>
            <a:ext cx="3445242" cy="2163247"/>
          </a:xfrm>
          <a:prstGeom prst="rect">
            <a:avLst/>
          </a:prstGeom>
        </p:spPr>
      </p:pic>
      <p:sp>
        <p:nvSpPr>
          <p:cNvPr id="26" name="TextBox 29">
            <a:extLst>
              <a:ext uri="{FF2B5EF4-FFF2-40B4-BE49-F238E27FC236}">
                <a16:creationId xmlns:a16="http://schemas.microsoft.com/office/drawing/2014/main" id="{41BD496B-B1DB-4783-B62F-771740941BE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46104" y="70215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5B3EE2D7-EB23-4DEE-83CA-8A4E8E8A2527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4" r="5697"/>
          <a:stretch/>
        </p:blipFill>
        <p:spPr>
          <a:xfrm>
            <a:off x="8426984" y="1102265"/>
            <a:ext cx="3590109" cy="2219277"/>
          </a:xfrm>
          <a:prstGeom prst="rect">
            <a:avLst/>
          </a:prstGeom>
        </p:spPr>
      </p:pic>
      <p:sp>
        <p:nvSpPr>
          <p:cNvPr id="27" name="TextBox 29">
            <a:extLst>
              <a:ext uri="{FF2B5EF4-FFF2-40B4-BE49-F238E27FC236}">
                <a16:creationId xmlns:a16="http://schemas.microsoft.com/office/drawing/2014/main" id="{8D218328-959B-4FCE-9A2C-25A0B5849BB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89860" y="377957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25" name="Picture 24" descr="Map&#10;&#10;Description automatically generated">
            <a:extLst>
              <a:ext uri="{FF2B5EF4-FFF2-40B4-BE49-F238E27FC236}">
                <a16:creationId xmlns:a16="http://schemas.microsoft.com/office/drawing/2014/main" id="{65D8BFE4-97FB-4DDA-BC75-CD26CCB79C3E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7" r="7615"/>
          <a:stretch/>
        </p:blipFill>
        <p:spPr>
          <a:xfrm>
            <a:off x="481603" y="4159874"/>
            <a:ext cx="3484517" cy="2160000"/>
          </a:xfrm>
          <a:prstGeom prst="rect">
            <a:avLst/>
          </a:prstGeom>
        </p:spPr>
      </p:pic>
      <p:pic>
        <p:nvPicPr>
          <p:cNvPr id="29" name="Picture 12" descr="Map&#10;&#10;Description automatically generated">
            <a:extLst>
              <a:ext uri="{FF2B5EF4-FFF2-40B4-BE49-F238E27FC236}">
                <a16:creationId xmlns:a16="http://schemas.microsoft.com/office/drawing/2014/main" id="{078D1790-2A55-4D35-B2A3-6D377DE52086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0" r="7941"/>
          <a:stretch/>
        </p:blipFill>
        <p:spPr>
          <a:xfrm>
            <a:off x="6056656" y="3894632"/>
            <a:ext cx="3687742" cy="232117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8D218328-959B-4FCE-9A2C-25A0B5849BB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762405" y="371121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.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4" name="Šipka doprava 3"/>
          <p:cNvSpPr/>
          <p:nvPr/>
        </p:nvSpPr>
        <p:spPr>
          <a:xfrm>
            <a:off x="4292092" y="4800907"/>
            <a:ext cx="1764564" cy="7023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/>
          <p:cNvSpPr txBox="1"/>
          <p:nvPr/>
        </p:nvSpPr>
        <p:spPr>
          <a:xfrm>
            <a:off x="3966120" y="5741102"/>
            <a:ext cx="22774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ě zátěž již ustupuje </a:t>
            </a:r>
            <a:endParaRPr kumimoji="0" lang="cs-CZ" sz="24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6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42" y="3931234"/>
            <a:ext cx="11905307" cy="1974265"/>
          </a:xfrm>
        </p:spPr>
        <p:txBody>
          <a:bodyPr>
            <a:noAutofit/>
          </a:bodyPr>
          <a:lstStyle/>
          <a:p>
            <a:r>
              <a:rPr lang="cs-CZ" sz="4800" b="1" u="sng" dirty="0" smtClean="0"/>
              <a:t>Příloha</a:t>
            </a:r>
            <a:endParaRPr lang="cs-CZ" sz="4800" b="1" u="sng" dirty="0"/>
          </a:p>
          <a:p>
            <a:r>
              <a:rPr lang="cs-CZ" sz="4800" b="1" dirty="0"/>
              <a:t>Zpětné shrnutí populačních predikcí z ledna </a:t>
            </a:r>
          </a:p>
          <a:p>
            <a:r>
              <a:rPr lang="cs-CZ" sz="4800" b="1" dirty="0"/>
              <a:t>a počátku února 2021</a:t>
            </a:r>
          </a:p>
        </p:txBody>
      </p:sp>
    </p:spTree>
    <p:extLst>
      <p:ext uri="{BB962C8B-B14F-4D97-AF65-F5344CB8AC3E}">
        <p14:creationId xmlns:p14="http://schemas.microsoft.com/office/powerpoint/2010/main" val="26722079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212320" y="233667"/>
            <a:ext cx="11693236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ětné</a:t>
            </a:r>
            <a:r>
              <a:rPr kumimoji="0" lang="cs-CZ" sz="3000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ipomenutí p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ikce provedené v lednu 2021 pro scénář rizikového vývoje a zrychleného šíření nakažlivější formy viru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ctr">
              <a:defRPr/>
            </a:pPr>
            <a:r>
              <a:rPr lang="cs-CZ" sz="2400" b="1" kern="0" dirty="0">
                <a:latin typeface="Calibri" panose="020F0502020204030204"/>
              </a:rPr>
              <a:t>Dlouhodobá predikce dle modelu SEIR, který byl pro epidemii COVID-19 v ČR adaptován na počátku dubna 2020. </a:t>
            </a:r>
            <a:r>
              <a:rPr kumimoji="0" lang="cs-CZ" sz="2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kern="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kern="0" dirty="0">
              <a:solidFill>
                <a:prstClr val="black"/>
              </a:solidFill>
              <a:latin typeface="Calibri" panose="020F0502020204030204"/>
            </a:endParaRPr>
          </a:p>
          <a:p>
            <a:pPr lvl="0" algn="ctr">
              <a:defRPr/>
            </a:pPr>
            <a:r>
              <a:rPr lang="cs-CZ" sz="2800" b="1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álný vývoj počtu nově diagnostikovaných pacientů v únoru 2021 potvrdil predikci provedenou dle vysoce rizikového scénáře, který předpokládal až 70% navýšení rychlosti šíření (nakažlivosti) nákazy. Model predikoval při daném objemu testů celkem 279 000 nových případů COVID-19 za celý únor, reálný počet byl 255 324. </a:t>
            </a:r>
            <a:endParaRPr kumimoji="0" lang="cs-CZ" sz="2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053576" y="3379185"/>
            <a:ext cx="1640138" cy="44017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5053576" y="6382745"/>
            <a:ext cx="1640138" cy="44017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6907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C98C8784-731C-4BD5-B7E3-A4BD8DDB5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391" y="1525979"/>
            <a:ext cx="7253866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382514" y="235828"/>
            <a:ext cx="11429271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šíření epidemie v lednu a únoru 2021</a:t>
            </a:r>
            <a:b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 ledna 2021 pro významný nárůst rizikových kontaktů nebo navýšení reprodukce nákazy 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200609" y="5962759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zahrnuje vybrané předpoklady a slouží ke zkoumání dopadu změny různých parametrů. Vzhledem k významným neurčitostem ve struktuře modelu, modelových parametrech a nejistotě ohledně budoucího vývoje je nezbytné výsledky brát jako orientační, umožňující pouze porovnání jednotlivých scénářů, nikoliv jako konkrétní předpověď pro určité období. </a:t>
            </a:r>
          </a:p>
        </p:txBody>
      </p:sp>
      <p:cxnSp>
        <p:nvCxnSpPr>
          <p:cNvPr id="26" name="Přímá spojnice 25"/>
          <p:cNvCxnSpPr/>
          <p:nvPr/>
        </p:nvCxnSpPr>
        <p:spPr>
          <a:xfrm>
            <a:off x="6371081" y="1427289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4">
            <a:extLst>
              <a:ext uri="{FF2B5EF4-FFF2-40B4-BE49-F238E27FC236}">
                <a16:creationId xmlns:a16="http://schemas.microsoft.com/office/drawing/2014/main" id="{590A9C4F-10F3-4016-8CE8-6FD01E44CFC4}"/>
              </a:ext>
            </a:extLst>
          </p:cNvPr>
          <p:cNvSpPr txBox="1"/>
          <p:nvPr/>
        </p:nvSpPr>
        <p:spPr>
          <a:xfrm>
            <a:off x="6902305" y="1264825"/>
            <a:ext cx="10126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</a:t>
            </a: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18133" y="1412277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3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 kontaktů na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ýše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školních kontaktů na 5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jiných kontaktů na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na původní úroveň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– Model předpokládající zvýšení rizikových kontaktů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80 % / 50 % / 80 % (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, školní, jiné) NEBO zvýšení základní reprodukce o přibližně 7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7" name="Tabulka 10">
            <a:extLst>
              <a:ext uri="{FF2B5EF4-FFF2-40B4-BE49-F238E27FC236}">
                <a16:creationId xmlns:a16="http://schemas.microsoft.com/office/drawing/2014/main" id="{8F2E1F4E-1261-45A1-B049-927C3E301058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794861" cy="8250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D31145"/>
                          </a:solidFill>
                          <a:effectLst/>
                          <a:latin typeface="Calibri" panose="020F0502020204030204" pitchFamily="34" charset="0"/>
                        </a:rPr>
                        <a:t>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D31145"/>
                          </a:solidFill>
                          <a:effectLst/>
                          <a:latin typeface="Calibri" panose="020F0502020204030204" pitchFamily="34" charset="0"/>
                        </a:rPr>
                        <a:t>1 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522E200B-65A1-441F-ABE3-66A5E5C0D077}"/>
              </a:ext>
            </a:extLst>
          </p:cNvPr>
          <p:cNvSpPr txBox="1"/>
          <p:nvPr/>
        </p:nvSpPr>
        <p:spPr>
          <a:xfrm>
            <a:off x="1446498" y="1174405"/>
            <a:ext cx="3467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zorovaná reál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zpoždění k hlášení 4 dn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1577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2046" y="237871"/>
            <a:ext cx="11748303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chozí stav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V průběhu února došlo ke zrychlení epidemie i přes zachování opatření ke snížení počtu osobních kontaktů (opatření s potenciálem redukce školních kontaktů na 30%, u pracovních a jiných kontaktů snížení na 40 % výchozí četnosti). Zásadní podíl na zhoršení situace měl vzestup a rychlé šíření nových variant </a:t>
            </a:r>
            <a:r>
              <a:rPr kumimoji="0" lang="cs-CZ" sz="2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ronaviru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denně nově diagnostikovaných pacientů a jejich vývoj v posledním únorovém týdnu odpovídaly reprodukčnímu číslu cca &gt; 1,2, zvýšená rychlost šíření nákazy byla patrná zejména v regionech Čech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6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6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kalibrované v lednu pro vývoj při reprodukci 1,2 předpověděl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týden 15.2. - 21.2. průměrně 11 080 nově diagnostikovaných případ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racovních dnech. Realita tento předpoklad potvrdila – v daném období proběhlo průměrně 11 083 záchytů denně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41445" y="1851352"/>
            <a:ext cx="1640138" cy="44017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41445" y="3781017"/>
            <a:ext cx="1640138" cy="44017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5148985" y="6289794"/>
            <a:ext cx="1640138" cy="44017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13612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Nové 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173293" y="1222719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843166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5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2152071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8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1068720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707635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4">
            <a:extLst>
              <a:ext uri="{FF2B5EF4-FFF2-40B4-BE49-F238E27FC236}">
                <a16:creationId xmlns:a16="http://schemas.microsoft.com/office/drawing/2014/main" id="{3E256F39-56D6-4974-B02C-6BB28A4AE5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048163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 rot="16200000">
            <a:off x="-1155417" y="449236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672572" y="3144329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5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272781" y="35806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533775" y="3437868"/>
            <a:ext cx="25276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é počty diagnostikovaných (data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IS 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377827" y="329936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672572" y="336954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377827" y="352267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1672572" y="3594769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377827" y="3745978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377827" y="3969284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664715" y="3819988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2. 3. 2021)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18C3454-3ACD-4639-ABC1-54A9227CB2EF}"/>
              </a:ext>
            </a:extLst>
          </p:cNvPr>
          <p:cNvSpPr txBox="1"/>
          <p:nvPr/>
        </p:nvSpPr>
        <p:spPr>
          <a:xfrm>
            <a:off x="4724655" y="1394358"/>
            <a:ext cx="5398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dpokládaný</a:t>
            </a:r>
            <a:r>
              <a:rPr kumimoji="0" lang="cs-CZ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at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řen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 1. 3. od druhého březnového 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ne; modely kalibrovány</a:t>
            </a:r>
            <a:r>
              <a:rPr kumimoji="0" lang="cs-CZ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e dni 5.3. 2021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99892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9FFDB16-6BA7-414C-AA21-906CE20CF902}"/>
              </a:ext>
            </a:extLst>
          </p:cNvPr>
          <p:cNvGraphicFramePr>
            <a:graphicFrameLocks noGrp="1"/>
          </p:cNvGraphicFramePr>
          <p:nvPr/>
        </p:nvGraphicFramePr>
        <p:xfrm>
          <a:off x="806733" y="2254884"/>
          <a:ext cx="10568815" cy="211673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739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80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8047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768047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768047">
                  <a:extLst>
                    <a:ext uri="{9D8B030D-6E8A-4147-A177-3AD203B41FA5}">
                      <a16:colId xmlns:a16="http://schemas.microsoft.com/office/drawing/2014/main" val="1674881479"/>
                    </a:ext>
                  </a:extLst>
                </a:gridCol>
                <a:gridCol w="768047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782436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782436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782436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782436">
                  <a:extLst>
                    <a:ext uri="{9D8B030D-6E8A-4147-A177-3AD203B41FA5}">
                      <a16:colId xmlns:a16="http://schemas.microsoft.com/office/drawing/2014/main" val="882152654"/>
                    </a:ext>
                  </a:extLst>
                </a:gridCol>
                <a:gridCol w="782436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76921">
                  <a:extLst>
                    <a:ext uri="{9D8B030D-6E8A-4147-A177-3AD203B41FA5}">
                      <a16:colId xmlns:a16="http://schemas.microsoft.com/office/drawing/2014/main" val="1385929866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pPr algn="l"/>
                      <a:endParaRPr lang="cs-CZ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cs-CZ" sz="1400" u="sng" dirty="0"/>
                        <a:t>Predikovaný celkový počet</a:t>
                      </a:r>
                      <a:r>
                        <a:rPr lang="cs-CZ" sz="1400" u="none" dirty="0"/>
                        <a:t> </a:t>
                      </a:r>
                      <a:br>
                        <a:rPr lang="cs-CZ" sz="1400" u="none" dirty="0"/>
                      </a:br>
                      <a:r>
                        <a:rPr lang="cs-CZ" sz="1400" u="none" dirty="0"/>
                        <a:t>N</a:t>
                      </a:r>
                      <a:r>
                        <a:rPr lang="cs-CZ" sz="1400" dirty="0"/>
                        <a:t>ově prokázané nákazy COVID-19</a:t>
                      </a:r>
                      <a:endParaRPr lang="cs-CZ" sz="14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sng" dirty="0"/>
                        <a:t>Predikovaný průměrný denní počet</a:t>
                      </a:r>
                      <a:br>
                        <a:rPr lang="cs-CZ" sz="1400" u="sng" dirty="0"/>
                      </a:br>
                      <a:r>
                        <a:rPr lang="cs-CZ" sz="1400" dirty="0"/>
                        <a:t>Nově prokázané nákazy COVID-19</a:t>
                      </a:r>
                      <a:endParaRPr lang="cs-CZ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Realita: naměřené</a:t>
                      </a:r>
                    </a:p>
                    <a:p>
                      <a:pPr algn="ctr"/>
                      <a:r>
                        <a:rPr lang="cs-CZ" sz="1400" b="1" dirty="0"/>
                        <a:t>hodnoty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12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.)</a:t>
                      </a:r>
                      <a:endParaRPr lang="cs-CZ" sz="14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0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2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3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0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2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3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/>
                        <a:t>denní průměr v pracovních dnech</a:t>
                      </a:r>
                      <a:endParaRPr lang="cs-CZ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5.–21. 2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5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6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8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9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6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77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92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 08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 23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11 0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13780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715479" y="674469"/>
            <a:ext cx="10759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hodnoty naměřené v týdnu 15.2. – 21.2. potvrdily predikce dle scénáře modelu pracujícím s reprodukčním číslem R &gt; 1,2. byla tak potvrzena růstová a zrychlující dynamika šíření nákazy.  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/>
              <a:t>Krátkodobé predikce pro období 4 týdnů (od 15.2.)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17C0D56-A7EB-44C4-AAAE-1EA91ADEDCC1}"/>
              </a:ext>
            </a:extLst>
          </p:cNvPr>
          <p:cNvSpPr txBox="1"/>
          <p:nvPr/>
        </p:nvSpPr>
        <p:spPr>
          <a:xfrm>
            <a:off x="193275" y="6047932"/>
            <a:ext cx="11734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zřete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856807" y="1552134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8544261" y="1573306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8996842" y="3052822"/>
            <a:ext cx="208345" cy="17362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54662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88534" y="126559"/>
            <a:ext cx="102171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scénáře vývoje dle dlouhodobé predikce SEIR modelu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4174034" y="870925"/>
            <a:ext cx="1380389" cy="439401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10067826" y="2411983"/>
            <a:ext cx="1982772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lová změna nebo rozvolnění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10067826" y="3715733"/>
            <a:ext cx="1982772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ržení a částeč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10067826" y="5278881"/>
            <a:ext cx="1982772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188534" y="1116160"/>
            <a:ext cx="9879292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konci února 2021 byly připraveny tři nové scénáře dalšího vývoj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kračování nepříznivého trendu </a:t>
            </a: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le již provedených simulací, kalkulované a dosud i prokázané zvýšení základní reprodukce viru o 70 %) 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endParaRPr kumimoji="0" lang="cs-CZ" sz="2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UcPeriod"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o částečnou redukci šíření nákazy </a:t>
            </a: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ová opatření nebo posílené dodržování stávajících opatření): kalkulovaná redukce počtu rizikových kontaktů a mobility od března (nulové školní kontakty, pracovní a jiné kontakty snížené na 30 % výchozí referenční četnosti - snížení z původních 50%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UcPeriod"/>
              <a:tabLst/>
              <a:defRPr/>
            </a:pPr>
            <a:endParaRPr kumimoji="0" lang="cs-CZ" sz="2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UcPeriod"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o silný dopad nových opatření </a:t>
            </a: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lná nová opatření a posílené dodržování stávajících opatření): kalkulovaná redukce počtu rizikových kontaktů a mobility od března (nulové školní kontakty, pracovní a jiné kontakty snížené na 20 -25 % výchozí referenční četnosti – snížení z původních 50%)</a:t>
            </a:r>
          </a:p>
        </p:txBody>
      </p:sp>
    </p:spTree>
    <p:extLst>
      <p:ext uri="{BB962C8B-B14F-4D97-AF65-F5344CB8AC3E}">
        <p14:creationId xmlns:p14="http://schemas.microsoft.com/office/powerpoint/2010/main" val="162590372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902825" y="95216"/>
            <a:ext cx="10613986" cy="64017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věr nových scénářů dlouhodobých populačních predikc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ifikace dle reálného vývoje k 6.3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kud by na počátku března došlo k navýšení rizikové mobility obyvatel (rozvolnění) došlo by k další eskalaci růstu epidemie a denní počty nově diagnostikovaných pacientů by překročily hranici 20 000 a eskalovaly až na úroveň 30 000 a vyšší (při stejném objemu a struktuře testů). </a:t>
            </a:r>
            <a:endParaRPr kumimoji="0" lang="cs-CZ" sz="22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ysoce rizikový scénář A nenastal, naopak přijatá opatření byla zesílena a došlo k poklesu mobility obyvatel a k redukci rizikových kontaktů. Růst epidemie sice na počátku března pokračoval, avšak pomalejším trendem. Projevily se první známky zastavení růstu a stagnace, byť na velmi vysokých denních počtech nově prokázaných případů (průměrně denně v pracovních dnech &gt; 14 000 nově prokázaných diagnóz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365222" y="3383664"/>
            <a:ext cx="1307939" cy="3819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353528" y="1307373"/>
            <a:ext cx="1307939" cy="3819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53527" y="5955173"/>
            <a:ext cx="1307939" cy="3819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300156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9D4671B-554B-4211-968F-15FAB685D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581" y="1557098"/>
            <a:ext cx="7253866" cy="3240000"/>
          </a:xfrm>
          <a:prstGeom prst="rect">
            <a:avLst/>
          </a:prstGeom>
        </p:spPr>
      </p:pic>
      <p:pic>
        <p:nvPicPr>
          <p:cNvPr id="16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590" y="4771182"/>
            <a:ext cx="7834441" cy="830403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nulová změna nebo rozvolně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pokračování výrazného nárůstu pozorovaného v únoru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32488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292341" y="1451668"/>
            <a:ext cx="381118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3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 kontaktů na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ýše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školních kontaktů na 5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jiných kontaktů na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na původní úroveň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574938" y="1550285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106161" y="1387821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– scénář 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325372" y="1243836"/>
            <a:ext cx="3538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0267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245098" y="95216"/>
            <a:ext cx="11802358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věr nových scénářů dlouhodobých populačních predikc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ifikace dle reálného vývoje k 6.3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kce dle scénářů B a C dokládaly, že udržení stávajících opatření a jejich další posílení (0% školní kontakty, posílení režimů </a:t>
            </a:r>
            <a:r>
              <a:rPr kumimoji="0" lang="cs-CZ" sz="2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me</a:t>
            </a: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cs-CZ" sz="2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ffice</a:t>
            </a: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 redukce pracovních kontaktů na 20 - 25%, snížení volnočasových kontaktů na 20%) má potenciál šíření nákazy zbrzdit a po cca 14 dnech od zavedení virovou nálož v populaci snižovat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ývoj epidemie na počátku března tyto scénáře potvrdil a nejnovější hodnoty ukázaly na možnost rychlejšího brždění epidemie v následujících týdnech. Počty nově prokázaných diagnóz nevystoupaly k očekávaným 20 000 denně (kulminační vrchol byl zřejmě dosažen po 2.3., cca 16 - 17 000 nových případů denně) a postupně klesaly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376560" y="3037238"/>
            <a:ext cx="1307939" cy="3819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376559" y="5388973"/>
            <a:ext cx="1307939" cy="3819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30641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B9C1C813-48DA-4C18-A5AE-F999472B3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549" y="1530087"/>
            <a:ext cx="7253866" cy="3240000"/>
          </a:xfrm>
          <a:prstGeom prst="rect">
            <a:avLst/>
          </a:prstGeom>
        </p:spPr>
      </p:pic>
      <p:pic>
        <p:nvPicPr>
          <p:cNvPr id="19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16" y="4774228"/>
            <a:ext cx="7834441" cy="830403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částečné posílení opatření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zavedených od 1.3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269867" y="1736774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.3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3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27298" y="1567219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158521" y="1404755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– scénář B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239293"/>
            <a:ext cx="3504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9623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</p:spTree>
    <p:extLst>
      <p:ext uri="{BB962C8B-B14F-4D97-AF65-F5344CB8AC3E}">
        <p14:creationId xmlns:p14="http://schemas.microsoft.com/office/powerpoint/2010/main" val="350133208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568B9327-DF62-41CE-B275-B9776AECB9B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23434" y="1529113"/>
            <a:ext cx="7253866" cy="3240000"/>
          </a:xfrm>
          <a:prstGeom prst="rect">
            <a:avLst/>
          </a:prstGeom>
        </p:spPr>
      </p:pic>
      <p:pic>
        <p:nvPicPr>
          <p:cNvPr id="19" name="tabl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916" y="4774228"/>
            <a:ext cx="7834441" cy="830403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částečné posílení opatření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zavedených od 1.3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269867" y="1736774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.3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3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27298" y="1567219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158521" y="1404755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– scénář B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239293"/>
            <a:ext cx="3504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/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, PRACOVNÍ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9623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</p:spTree>
    <p:extLst>
      <p:ext uri="{BB962C8B-B14F-4D97-AF65-F5344CB8AC3E}">
        <p14:creationId xmlns:p14="http://schemas.microsoft.com/office/powerpoint/2010/main" val="92734476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5533108D-E107-45C3-A24F-006C8B5BE4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372" y="1530553"/>
            <a:ext cx="7253866" cy="3240000"/>
          </a:xfrm>
          <a:prstGeom prst="rect">
            <a:avLst/>
          </a:prstGeom>
        </p:spPr>
      </p:pic>
      <p:pic>
        <p:nvPicPr>
          <p:cNvPr id="19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35" y="4775371"/>
            <a:ext cx="7834442" cy="830403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potenciálních opatření zavedených od 1.3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.3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– scénář C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</p:spTree>
    <p:extLst>
      <p:ext uri="{BB962C8B-B14F-4D97-AF65-F5344CB8AC3E}">
        <p14:creationId xmlns:p14="http://schemas.microsoft.com/office/powerpoint/2010/main" val="360532886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4D6BFC88-E197-43EF-A7BE-F790341A739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926490" y="1526240"/>
            <a:ext cx="7253866" cy="3240000"/>
          </a:xfrm>
          <a:prstGeom prst="rect">
            <a:avLst/>
          </a:prstGeom>
        </p:spPr>
      </p:pic>
      <p:pic>
        <p:nvPicPr>
          <p:cNvPr id="19" name="tabl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3535" y="4775371"/>
            <a:ext cx="7834442" cy="830403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potenciálních opatření zavedených od 1.3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.3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– scénář C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/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, PRACOVNÍ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</p:spTree>
    <p:extLst>
      <p:ext uri="{BB962C8B-B14F-4D97-AF65-F5344CB8AC3E}">
        <p14:creationId xmlns:p14="http://schemas.microsoft.com/office/powerpoint/2010/main" val="3022791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218429" y="500833"/>
            <a:ext cx="1182932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měna v šíření nákazy po 25.2. 2021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Na konci února 2021 přestal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 populační zátěže eskalovat a částečně se stabilizoval, byť na velmi vysokých hodnotách. V důsledku toho reprodukční číslo postupně klesalo. Mezi-týdenní nárůsty zachycených případů klesly z + 30% na cca + 14%. V následujících dnech se začala projevovat nově přijatá opatření a epidemie začne mírně brzdit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predikcí kalibrovaných v lednu došlo na konci února a počátku března k dalšímu nárůstu pozitivních záchytů nákazy, v pracovních dnech průměrné denní počty překročily 14 000 nově prokázaných diagnóz. Růst avšak zpomaloval a reálně zachycené počty odpovídaly predikcím dle mírně klesajícího reprodukčního čísl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 &lt; 1,15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6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48985" y="2587892"/>
            <a:ext cx="1640138" cy="44017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5148985" y="5359056"/>
            <a:ext cx="1640138" cy="44017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8266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715479" y="683261"/>
            <a:ext cx="10759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konci února a počátku března narostly denní průměrné záchyty COVID-19 nad 14 000. Růst však zpomaloval a počty nově prokázaných případů odpovídají vývoji dle R &lt;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,85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/>
              <a:t>Krátkodobé predikce pro období 4 týdnů (od 8. 3.)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17C0D56-A7EB-44C4-AAAE-1EA91ADEDCC1}"/>
              </a:ext>
            </a:extLst>
          </p:cNvPr>
          <p:cNvSpPr txBox="1"/>
          <p:nvPr/>
        </p:nvSpPr>
        <p:spPr>
          <a:xfrm>
            <a:off x="329939" y="5923224"/>
            <a:ext cx="112939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.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814619" y="1408547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8502073" y="1429719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333B0893-E8BA-4EAF-A620-5A7A1BA58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770570"/>
              </p:ext>
            </p:extLst>
          </p:nvPr>
        </p:nvGraphicFramePr>
        <p:xfrm>
          <a:off x="1074625" y="1890064"/>
          <a:ext cx="9972000" cy="3894952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Realita: naměřené</a:t>
                      </a:r>
                    </a:p>
                    <a:p>
                      <a:pPr algn="ctr"/>
                      <a:r>
                        <a:rPr lang="cs-CZ" sz="1400" b="1" dirty="0"/>
                        <a:t>hodnoty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1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1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1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1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1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/>
                        <a:t>denní průměr v pracovních dnech</a:t>
                      </a:r>
                      <a:endParaRPr lang="cs-CZ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cs-CZ" sz="1450" b="1" u="none" strike="noStrike" dirty="0">
                          <a:effectLst/>
                        </a:rPr>
                        <a:t>.–14. 3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5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3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4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4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5.–21. 3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8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5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89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  <a:r>
                        <a:rPr lang="cs-CZ" sz="1450" b="1" u="none" strike="noStrike" dirty="0">
                          <a:effectLst/>
                        </a:rPr>
                        <a:t>.–28. 3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7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2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4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 3</a:t>
                      </a:r>
                      <a:r>
                        <a:rPr lang="cs-CZ" sz="1450" b="1" u="none" strike="noStrike" dirty="0">
                          <a:effectLst/>
                        </a:rPr>
                        <a:t>.–4. 4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27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979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 69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 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</a:tbl>
          </a:graphicData>
        </a:graphic>
      </p:graphicFrame>
      <p:sp>
        <p:nvSpPr>
          <p:cNvPr id="15" name="Šipka dolů 8">
            <a:extLst>
              <a:ext uri="{FF2B5EF4-FFF2-40B4-BE49-F238E27FC236}">
                <a16:creationId xmlns:a16="http://schemas.microsoft.com/office/drawing/2014/main" id="{2A4C4C63-FC62-45E1-8E4B-A7C635A4D22A}"/>
              </a:ext>
            </a:extLst>
          </p:cNvPr>
          <p:cNvSpPr/>
          <p:nvPr/>
        </p:nvSpPr>
        <p:spPr>
          <a:xfrm>
            <a:off x="8182266" y="3558063"/>
            <a:ext cx="208345" cy="17362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8">
            <a:extLst>
              <a:ext uri="{FF2B5EF4-FFF2-40B4-BE49-F238E27FC236}">
                <a16:creationId xmlns:a16="http://schemas.microsoft.com/office/drawing/2014/main" id="{FEEE55F7-188E-477E-92F5-7A3D5205935A}"/>
              </a:ext>
            </a:extLst>
          </p:cNvPr>
          <p:cNvSpPr/>
          <p:nvPr/>
        </p:nvSpPr>
        <p:spPr>
          <a:xfrm>
            <a:off x="7973921" y="4161507"/>
            <a:ext cx="208345" cy="17362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Šipka dolů 8">
            <a:extLst>
              <a:ext uri="{FF2B5EF4-FFF2-40B4-BE49-F238E27FC236}">
                <a16:creationId xmlns:a16="http://schemas.microsoft.com/office/drawing/2014/main" id="{B8B2B3DA-F2A5-4023-8F71-1AC811A52714}"/>
              </a:ext>
            </a:extLst>
          </p:cNvPr>
          <p:cNvSpPr/>
          <p:nvPr/>
        </p:nvSpPr>
        <p:spPr>
          <a:xfrm>
            <a:off x="7252998" y="4692137"/>
            <a:ext cx="208345" cy="17362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Šipka dolů 8">
            <a:extLst>
              <a:ext uri="{FF2B5EF4-FFF2-40B4-BE49-F238E27FC236}">
                <a16:creationId xmlns:a16="http://schemas.microsoft.com/office/drawing/2014/main" id="{B8B2B3DA-F2A5-4023-8F71-1AC811A52714}"/>
              </a:ext>
            </a:extLst>
          </p:cNvPr>
          <p:cNvSpPr/>
          <p:nvPr/>
        </p:nvSpPr>
        <p:spPr>
          <a:xfrm>
            <a:off x="7044653" y="5232804"/>
            <a:ext cx="208345" cy="17362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920900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30578" cy="576000"/>
          </a:xfrm>
        </p:spPr>
        <p:txBody>
          <a:bodyPr/>
          <a:lstStyle/>
          <a:p>
            <a:r>
              <a:rPr lang="cs-CZ" sz="2400" dirty="0">
                <a:latin typeface="+mn-lt"/>
              </a:rPr>
              <a:t>Původní predikce ve scénářích z konce ledna a února 2021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173293" y="1222719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843166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3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2152071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1068720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707635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556549" y="2673513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672572" y="3346350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3640751" y="295709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3937932" y="2905284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377827" y="3501385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672572" y="3571570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377827" y="3724692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1672572" y="3796790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377827" y="3947999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367102" y="2179172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3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46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6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 052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783 predikovaných</a:t>
            </a:r>
          </a:p>
        </p:txBody>
      </p: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624C8AE8-7ABE-431A-A9C8-DE9E31A1E2C5}"/>
              </a:ext>
            </a:extLst>
          </p:cNvPr>
          <p:cNvGraphicFramePr/>
          <p:nvPr/>
        </p:nvGraphicFramePr>
        <p:xfrm>
          <a:off x="381739" y="328500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3495064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9FFDB16-6BA7-414C-AA21-906CE20CF902}"/>
              </a:ext>
            </a:extLst>
          </p:cNvPr>
          <p:cNvGraphicFramePr>
            <a:graphicFrameLocks noGrp="1"/>
          </p:cNvGraphicFramePr>
          <p:nvPr/>
        </p:nvGraphicFramePr>
        <p:xfrm>
          <a:off x="398558" y="2012782"/>
          <a:ext cx="11324134" cy="3620632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637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29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2937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822937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822937">
                  <a:extLst>
                    <a:ext uri="{9D8B030D-6E8A-4147-A177-3AD203B41FA5}">
                      <a16:colId xmlns:a16="http://schemas.microsoft.com/office/drawing/2014/main" val="1674881479"/>
                    </a:ext>
                  </a:extLst>
                </a:gridCol>
                <a:gridCol w="822937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838354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838354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838354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838354">
                  <a:extLst>
                    <a:ext uri="{9D8B030D-6E8A-4147-A177-3AD203B41FA5}">
                      <a16:colId xmlns:a16="http://schemas.microsoft.com/office/drawing/2014/main" val="882152654"/>
                    </a:ext>
                  </a:extLst>
                </a:gridCol>
                <a:gridCol w="838354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153885">
                  <a:extLst>
                    <a:ext uri="{9D8B030D-6E8A-4147-A177-3AD203B41FA5}">
                      <a16:colId xmlns:a16="http://schemas.microsoft.com/office/drawing/2014/main" val="1385929866"/>
                    </a:ext>
                  </a:extLst>
                </a:gridCol>
              </a:tblGrid>
              <a:tr h="722680">
                <a:tc>
                  <a:txBody>
                    <a:bodyPr/>
                    <a:lstStyle/>
                    <a:p>
                      <a:pPr algn="l"/>
                      <a:endParaRPr lang="cs-CZ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cs-CZ" sz="1400" u="sng" dirty="0"/>
                        <a:t>Predikovaný celkový počet</a:t>
                      </a:r>
                      <a:r>
                        <a:rPr lang="cs-CZ" sz="1400" u="none" dirty="0"/>
                        <a:t> </a:t>
                      </a:r>
                      <a:br>
                        <a:rPr lang="cs-CZ" sz="1400" u="none" dirty="0"/>
                      </a:br>
                      <a:r>
                        <a:rPr lang="cs-CZ" sz="1400" u="none" dirty="0"/>
                        <a:t>N</a:t>
                      </a:r>
                      <a:r>
                        <a:rPr lang="cs-CZ" sz="1400" dirty="0"/>
                        <a:t>ově prokázané nákazy COVID-19</a:t>
                      </a:r>
                      <a:endParaRPr lang="cs-CZ" sz="14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sng" dirty="0"/>
                        <a:t>Predikovaný průměrný denní počet</a:t>
                      </a:r>
                      <a:br>
                        <a:rPr lang="cs-CZ" sz="1400" u="sng" dirty="0"/>
                      </a:br>
                      <a:r>
                        <a:rPr lang="cs-CZ" sz="1400" dirty="0"/>
                        <a:t>Nově prokázané nákazy COVID-19</a:t>
                      </a:r>
                      <a:endParaRPr lang="cs-CZ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Realita: naměřené</a:t>
                      </a:r>
                    </a:p>
                    <a:p>
                      <a:pPr algn="ctr"/>
                      <a:r>
                        <a:rPr lang="cs-CZ" sz="1400" b="1" dirty="0"/>
                        <a:t>hodnoty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12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.)</a:t>
                      </a:r>
                      <a:endParaRPr lang="cs-CZ" sz="14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0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2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3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0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2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3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/>
                        <a:t>denní průměr v pracovních dnech</a:t>
                      </a:r>
                      <a:endParaRPr lang="cs-CZ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5.–21. 2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5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6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8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9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6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77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92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 08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 23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 0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13780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22.–28. 2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5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3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3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 2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51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 86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 28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 781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 0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.–7. 3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7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4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5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 1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57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 44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 80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 69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 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cs-CZ" sz="1450" b="1" u="none" strike="noStrike" dirty="0">
                          <a:effectLst/>
                        </a:rPr>
                        <a:t>.–14. 3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0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7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9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 1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615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229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 26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 00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 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715479" y="674469"/>
            <a:ext cx="10759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konci února a počátku března narostly denní průměrné záchyty COVID-19 nad 14 000. Růst však zpomaloval a počty nově prokázaných případů odpovídaly vývoji dle R &lt; 1,15. 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/>
              <a:t>Krátkodobé predikce pro období 4 týdnů (od 15.2.)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17C0D56-A7EB-44C4-AAAE-1EA91ADEDCC1}"/>
              </a:ext>
            </a:extLst>
          </p:cNvPr>
          <p:cNvSpPr txBox="1"/>
          <p:nvPr/>
        </p:nvSpPr>
        <p:spPr>
          <a:xfrm>
            <a:off x="193275" y="6047932"/>
            <a:ext cx="11734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zřete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814619" y="1399755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8502073" y="1420927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9621875" y="4036670"/>
            <a:ext cx="208345" cy="17362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8746309" y="4663632"/>
            <a:ext cx="208345" cy="17362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8172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ovéPole 25">
            <a:extLst>
              <a:ext uri="{FF2B5EF4-FFF2-40B4-BE49-F238E27FC236}">
                <a16:creationId xmlns:a16="http://schemas.microsoft.com/office/drawing/2014/main" id="{6B627DB5-E7BE-4826-83AC-838BCA5E7E3C}"/>
              </a:ext>
            </a:extLst>
          </p:cNvPr>
          <p:cNvSpPr txBox="1"/>
          <p:nvPr/>
        </p:nvSpPr>
        <p:spPr>
          <a:xfrm>
            <a:off x="154624" y="6405326"/>
            <a:ext cx="982352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počet funkc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e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 v software R (balíček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Esti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, 7denní časové okno, předpoklad rozdělení sériového intervalu: průměr 4.8, SD 2.3 (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shiura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t al., 2020), odhad uveden jako medián a 2,5%–97,5% kvantily.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246352" y="10028"/>
            <a:ext cx="1180093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ýdenní nárůsty počtů nově prokázaných případů zpomalují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ž vedlo i k poklesu odhadované hodnoty reprodukčního čísla (R)</a:t>
            </a: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20">
            <a:extLst>
              <a:ext uri="{FF2B5EF4-FFF2-40B4-BE49-F238E27FC236}">
                <a16:creationId xmlns:a16="http://schemas.microsoft.com/office/drawing/2014/main" id="{B53FBA91-9363-4D0D-828A-54F3C6CDFC6D}"/>
              </a:ext>
            </a:extLst>
          </p:cNvPr>
          <p:cNvSpPr txBox="1"/>
          <p:nvPr/>
        </p:nvSpPr>
        <p:spPr>
          <a:xfrm rot="16200000">
            <a:off x="-577054" y="4305215"/>
            <a:ext cx="1944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sob s COVID-19</a:t>
            </a:r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9AF03425-3E02-466F-BF83-36B87BDA047A}"/>
              </a:ext>
            </a:extLst>
          </p:cNvPr>
          <p:cNvSpPr txBox="1"/>
          <p:nvPr/>
        </p:nvSpPr>
        <p:spPr>
          <a:xfrm>
            <a:off x="3065657" y="2684979"/>
            <a:ext cx="6493122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7" name="Přímá spojnice 24">
            <a:extLst>
              <a:ext uri="{FF2B5EF4-FFF2-40B4-BE49-F238E27FC236}">
                <a16:creationId xmlns:a16="http://schemas.microsoft.com/office/drawing/2014/main" id="{31568FD8-6055-4B36-8B91-D06C52D6F5EF}"/>
              </a:ext>
            </a:extLst>
          </p:cNvPr>
          <p:cNvCxnSpPr>
            <a:cxnSpLocks/>
          </p:cNvCxnSpPr>
          <p:nvPr/>
        </p:nvCxnSpPr>
        <p:spPr>
          <a:xfrm flipH="1">
            <a:off x="1442911" y="1778193"/>
            <a:ext cx="2100389" cy="11892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30">
            <a:extLst>
              <a:ext uri="{FF2B5EF4-FFF2-40B4-BE49-F238E27FC236}">
                <a16:creationId xmlns:a16="http://schemas.microsoft.com/office/drawing/2014/main" id="{C2000322-775A-4809-8044-6C3A2633FB2E}"/>
              </a:ext>
            </a:extLst>
          </p:cNvPr>
          <p:cNvCxnSpPr>
            <a:cxnSpLocks/>
          </p:cNvCxnSpPr>
          <p:nvPr/>
        </p:nvCxnSpPr>
        <p:spPr>
          <a:xfrm>
            <a:off x="8750340" y="1720861"/>
            <a:ext cx="2317351" cy="1246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Chart 4">
            <a:extLst>
              <a:ext uri="{FF2B5EF4-FFF2-40B4-BE49-F238E27FC236}">
                <a16:creationId xmlns:a16="http://schemas.microsoft.com/office/drawing/2014/main" id="{A5E5C59D-6EB8-43A7-9D48-4A35480DC7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9662912"/>
              </p:ext>
            </p:extLst>
          </p:nvPr>
        </p:nvGraphicFramePr>
        <p:xfrm>
          <a:off x="418529" y="2591454"/>
          <a:ext cx="11354940" cy="3796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41C0902D-9CE5-4190-BB4C-DE511C9A71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611273"/>
              </p:ext>
            </p:extLst>
          </p:nvPr>
        </p:nvGraphicFramePr>
        <p:xfrm>
          <a:off x="2003154" y="1052628"/>
          <a:ext cx="8128000" cy="1219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2948460810"/>
                    </a:ext>
                  </a:extLst>
                </a:gridCol>
              </a:tblGrid>
              <a:tr h="2080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3200" b="1" u="sng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Aktuální odhad R pro ČR</a:t>
                      </a:r>
                      <a:endParaRPr lang="cs-CZ" sz="3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33893919"/>
                  </a:ext>
                </a:extLst>
              </a:tr>
              <a:tr h="2080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600" dirty="0" smtClean="0"/>
                        <a:t>0,80 </a:t>
                      </a:r>
                      <a:r>
                        <a:rPr lang="cs-CZ" sz="3600" dirty="0"/>
                        <a:t>(95% IS </a:t>
                      </a:r>
                      <a:r>
                        <a:rPr lang="cs-CZ" sz="3600" dirty="0" smtClean="0"/>
                        <a:t>0,77–0,82)*</a:t>
                      </a:r>
                      <a:endParaRPr lang="cs-CZ" sz="3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17686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15836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ČR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9611" y="588757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ukazuje na zpomalení 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950076" flipV="1">
            <a:off x="11093547" y="3441354"/>
            <a:ext cx="521883" cy="281154"/>
          </a:xfrm>
          <a:prstGeom prst="rightArrow">
            <a:avLst/>
          </a:prstGeom>
          <a:solidFill>
            <a:srgbClr val="9A0000"/>
          </a:solidFill>
          <a:ln>
            <a:solidFill>
              <a:srgbClr val="9A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/>
          <p:cNvSpPr txBox="1"/>
          <p:nvPr/>
        </p:nvSpPr>
        <p:spPr>
          <a:xfrm>
            <a:off x="853440" y="3203599"/>
            <a:ext cx="19469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ě potvrzené případy COVID-19</a:t>
            </a:r>
          </a:p>
        </p:txBody>
      </p:sp>
      <p:graphicFrame>
        <p:nvGraphicFramePr>
          <p:cNvPr id="17" name="Tabulka 8">
            <a:extLst>
              <a:ext uri="{FF2B5EF4-FFF2-40B4-BE49-F238E27FC236}">
                <a16:creationId xmlns:a16="http://schemas.microsoft.com/office/drawing/2014/main" id="{3D2ADA3D-C84A-4A3E-B745-94D41493815A}"/>
              </a:ext>
            </a:extLst>
          </p:cNvPr>
          <p:cNvGraphicFramePr>
            <a:graphicFrameLocks noGrp="1"/>
          </p:cNvGraphicFramePr>
          <p:nvPr/>
        </p:nvGraphicFramePr>
        <p:xfrm>
          <a:off x="197157" y="1002166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2.–21. 2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2.–28. 2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3.–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3.–1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3.–2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3.–28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6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31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7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03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68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0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4,9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,9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,7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8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9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18" name="Zahnutá šipka nahoru 25">
            <a:extLst>
              <a:ext uri="{FF2B5EF4-FFF2-40B4-BE49-F238E27FC236}">
                <a16:creationId xmlns:a16="http://schemas.microsoft.com/office/drawing/2014/main" id="{04AFB943-7C2C-4918-9A53-175A6074C344}"/>
              </a:ext>
            </a:extLst>
          </p:cNvPr>
          <p:cNvSpPr/>
          <p:nvPr/>
        </p:nvSpPr>
        <p:spPr>
          <a:xfrm>
            <a:off x="1203450" y="2343824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Zahnutá šipka nahoru 25">
            <a:extLst>
              <a:ext uri="{FF2B5EF4-FFF2-40B4-BE49-F238E27FC236}">
                <a16:creationId xmlns:a16="http://schemas.microsoft.com/office/drawing/2014/main" id="{AE12188F-CC7F-476D-8CE9-B336BF604B5C}"/>
              </a:ext>
            </a:extLst>
          </p:cNvPr>
          <p:cNvSpPr/>
          <p:nvPr/>
        </p:nvSpPr>
        <p:spPr>
          <a:xfrm>
            <a:off x="3172865" y="2343824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Zahnutá šipka nahoru 25">
            <a:extLst>
              <a:ext uri="{FF2B5EF4-FFF2-40B4-BE49-F238E27FC236}">
                <a16:creationId xmlns:a16="http://schemas.microsoft.com/office/drawing/2014/main" id="{461D2AEE-FCCE-4D99-914D-4E609EBC2EC7}"/>
              </a:ext>
            </a:extLst>
          </p:cNvPr>
          <p:cNvSpPr/>
          <p:nvPr/>
        </p:nvSpPr>
        <p:spPr>
          <a:xfrm>
            <a:off x="5116865" y="2343824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Zahnutá šipka nahoru 25">
            <a:extLst>
              <a:ext uri="{FF2B5EF4-FFF2-40B4-BE49-F238E27FC236}">
                <a16:creationId xmlns:a16="http://schemas.microsoft.com/office/drawing/2014/main" id="{F1D18710-E02C-40EB-A06B-36B91A2CAD53}"/>
              </a:ext>
            </a:extLst>
          </p:cNvPr>
          <p:cNvSpPr/>
          <p:nvPr/>
        </p:nvSpPr>
        <p:spPr>
          <a:xfrm>
            <a:off x="7086280" y="2343824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Zahnutá šipka nahoru 25">
            <a:extLst>
              <a:ext uri="{FF2B5EF4-FFF2-40B4-BE49-F238E27FC236}">
                <a16:creationId xmlns:a16="http://schemas.microsoft.com/office/drawing/2014/main" id="{49D74346-496D-4F4A-9B89-3E5F0165650F}"/>
              </a:ext>
            </a:extLst>
          </p:cNvPr>
          <p:cNvSpPr/>
          <p:nvPr/>
        </p:nvSpPr>
        <p:spPr>
          <a:xfrm>
            <a:off x="9056914" y="2343824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3740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</a:t>
            </a: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ibrace modelu pro rychlé brždění epidemie provedená dne 5.3. 2021</a:t>
            </a:r>
          </a:p>
          <a:p>
            <a:pPr algn="ctr">
              <a:defRPr/>
            </a:pPr>
            <a:r>
              <a:rPr lang="cs-CZ" sz="3200" i="1" dirty="0" smtClean="0"/>
              <a:t>Model </a:t>
            </a:r>
            <a:r>
              <a:rPr lang="cs-CZ" sz="3200" i="1" dirty="0"/>
              <a:t>předpokládal snížení mobility obyvatel a posílení dodržování opatření již od konce února </a:t>
            </a:r>
            <a:r>
              <a:rPr lang="cs-CZ" sz="3200" i="1" dirty="0" smtClean="0"/>
              <a:t>2021.</a:t>
            </a:r>
            <a:endParaRPr lang="cs-CZ" sz="3200" i="1" kern="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latin typeface="Calibri" panose="020F0502020204030204"/>
            </a:endParaRPr>
          </a:p>
          <a:p>
            <a:pPr algn="ctr">
              <a:defRPr/>
            </a:pPr>
            <a:r>
              <a:rPr lang="cs-CZ" sz="3400" b="1" i="1" dirty="0" smtClean="0">
                <a:solidFill>
                  <a:srgbClr val="C00000"/>
                </a:solidFill>
              </a:rPr>
              <a:t>Vývoj ke konci března 2021 ukazuje na rychlejší zpomalování epidemie. V tomto trendu se již s vysokou pravděpodobností promítá postupující očkování populace. </a:t>
            </a:r>
            <a:endParaRPr kumimoji="0" lang="cs-CZ" sz="340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20413" y="4075284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  <a:endParaRPr lang="cs-CZ" sz="2400" i="1" kern="0" dirty="0">
              <a:solidFill>
                <a:prstClr val="black"/>
              </a:solidFill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420413" y="6201066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867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1CD8FB23-471F-46C1-8DBB-4A162C5560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095" y="152564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200" b="1" u="sng" dirty="0">
                <a:solidFill>
                  <a:prstClr val="white"/>
                </a:solidFill>
              </a:rPr>
              <a:t>SEIR model: udržení a významné posílení opatření </a:t>
            </a:r>
          </a:p>
          <a:p>
            <a:pPr lvl="0" algn="ctr">
              <a:defRPr/>
            </a:pPr>
            <a:r>
              <a:rPr lang="cs-CZ" sz="2200" b="1" dirty="0">
                <a:solidFill>
                  <a:prstClr val="white"/>
                </a:solidFill>
              </a:rPr>
              <a:t>Dopad potenciálních opatření na mobilitu od 19.2.2021</a:t>
            </a:r>
            <a:endParaRPr lang="cs-CZ" sz="2200" b="1" u="sng" dirty="0">
              <a:solidFill>
                <a:prstClr val="white"/>
              </a:solidFill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600" b="1" dirty="0"/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1200" dirty="0"/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defRPr/>
            </a:pPr>
            <a:r>
              <a:rPr lang="cs-CZ" sz="1600" b="1" kern="0" dirty="0"/>
              <a:t>Efekt opatření od 28.12.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snížení pracovních kontaktů na 40 %</a:t>
            </a:r>
            <a:endParaRPr lang="en-US" sz="1600" b="1" kern="0" dirty="0"/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školní kontakty na 0 %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snížení jiných kontaktů na 40 %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/>
              <a:t>snížení základní reprodukce o 10%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/>
              <a:t>školní kontakty na 30 % od 4.1.</a:t>
            </a:r>
          </a:p>
          <a:p>
            <a:pPr marL="85725" lvl="1"/>
            <a:endParaRPr lang="cs-CZ" sz="1600" b="1" dirty="0">
              <a:solidFill>
                <a:srgbClr val="D31145"/>
              </a:solidFill>
            </a:endParaRPr>
          </a:p>
          <a:p>
            <a:pPr marL="85725" lvl="1"/>
            <a:r>
              <a:rPr lang="cs-CZ" sz="1600" b="1" dirty="0">
                <a:solidFill>
                  <a:srgbClr val="D31145"/>
                </a:solidFill>
              </a:rPr>
              <a:t>Od 25.1.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>
                <a:solidFill>
                  <a:srgbClr val="D31145"/>
                </a:solidFill>
              </a:rPr>
              <a:t>zvýšení základní reprodukce o 70 %</a:t>
            </a:r>
            <a:br>
              <a:rPr lang="cs-CZ" sz="1600" b="1" dirty="0">
                <a:solidFill>
                  <a:srgbClr val="D31145"/>
                </a:solidFill>
              </a:rPr>
            </a:br>
            <a:r>
              <a:rPr lang="cs-CZ" sz="1600" b="1" dirty="0">
                <a:solidFill>
                  <a:srgbClr val="D31145"/>
                </a:solidFill>
              </a:rPr>
              <a:t>(simulace šíření nakažlivějších forem viru, simulace nedodržování opatření)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endParaRPr lang="cs-CZ" sz="1600" b="1" kern="0" dirty="0">
              <a:solidFill>
                <a:srgbClr val="D31145"/>
              </a:solidFill>
            </a:endParaRPr>
          </a:p>
          <a:p>
            <a:pPr marL="85725" lvl="1">
              <a:defRPr/>
            </a:pPr>
            <a:r>
              <a:rPr lang="cs-CZ" sz="1600" b="1" u="sng" kern="0" dirty="0">
                <a:solidFill>
                  <a:srgbClr val="D31145"/>
                </a:solidFill>
              </a:rPr>
              <a:t>Efekt </a:t>
            </a:r>
            <a:r>
              <a:rPr lang="cs-CZ" sz="1600" b="1" u="sng" kern="0" dirty="0" smtClean="0">
                <a:solidFill>
                  <a:srgbClr val="D31145"/>
                </a:solidFill>
              </a:rPr>
              <a:t>a silnější dodržování opatření </a:t>
            </a:r>
            <a:r>
              <a:rPr lang="cs-CZ" sz="1600" b="1" u="sng" kern="0" dirty="0">
                <a:solidFill>
                  <a:srgbClr val="D31145"/>
                </a:solidFill>
              </a:rPr>
              <a:t>od 19.2.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snížení pracovních kontaktů na </a:t>
            </a:r>
            <a:r>
              <a:rPr lang="cs-CZ" sz="1600" b="1" u="sng" kern="0" dirty="0">
                <a:solidFill>
                  <a:srgbClr val="D31145"/>
                </a:solidFill>
              </a:rPr>
              <a:t>20 %</a:t>
            </a:r>
            <a:endParaRPr lang="en-US" sz="1600" b="1" u="sng" kern="0" dirty="0">
              <a:solidFill>
                <a:srgbClr val="D31145"/>
              </a:solidFill>
            </a:endParaRP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školní kontakty na 0 %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snížení jiných kontaktů na </a:t>
            </a:r>
            <a:r>
              <a:rPr lang="cs-CZ" sz="1600" b="1" u="sng" kern="0" dirty="0">
                <a:solidFill>
                  <a:srgbClr val="D31145"/>
                </a:solidFill>
              </a:rPr>
              <a:t>20 - 25 %</a:t>
            </a:r>
          </a:p>
          <a:p>
            <a:pPr marL="85725" lvl="1">
              <a:defRPr/>
            </a:pPr>
            <a:endParaRPr lang="cs-CZ" sz="1600" b="1" kern="0" dirty="0">
              <a:solidFill>
                <a:srgbClr val="D31145"/>
              </a:solidFill>
            </a:endParaRPr>
          </a:p>
          <a:p>
            <a:pPr marL="85725" lvl="1"/>
            <a:r>
              <a:rPr lang="en-US" sz="1600" b="1" kern="0" dirty="0">
                <a:solidFill>
                  <a:srgbClr val="D31145"/>
                </a:solidFill>
              </a:rPr>
              <a:t>(</a:t>
            </a:r>
            <a:r>
              <a:rPr lang="cs-CZ" sz="1600" b="1" kern="0" dirty="0">
                <a:solidFill>
                  <a:srgbClr val="D31145"/>
                </a:solidFill>
              </a:rPr>
              <a:t>uvedeny podíly normálních kontaktů</a:t>
            </a:r>
            <a:r>
              <a:rPr lang="en-US" sz="1600" b="1" kern="0" dirty="0">
                <a:solidFill>
                  <a:srgbClr val="D31145"/>
                </a:solidFill>
              </a:rPr>
              <a:t>)</a:t>
            </a:r>
            <a:endParaRPr lang="cs-CZ" sz="1600" b="1" dirty="0">
              <a:solidFill>
                <a:srgbClr val="D31145"/>
              </a:solidFill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b="1" dirty="0" smtClean="0"/>
              <a:t>Predikce</a:t>
            </a:r>
            <a:endParaRPr lang="cs-CZ" sz="1600" b="1" dirty="0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</a:t>
            </a:r>
            <a:r>
              <a:rPr kumimoji="0" lang="cs-CZ" sz="11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apříklad limitované znalosti o skutečné vnímavosti populace k viru a k jeho novým variantám)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nezbytné výsledky brát jako orientační, umožňující zejména celkové</a:t>
            </a:r>
            <a:r>
              <a:rPr kumimoji="0" lang="cs-CZ" sz="1100" b="0" i="1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rovnávání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2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7452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8740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97</TotalTime>
  <Words>7936</Words>
  <Application>Microsoft Office PowerPoint</Application>
  <PresentationFormat>Širokoúhlá obrazovka</PresentationFormat>
  <Paragraphs>1319</Paragraphs>
  <Slides>51</Slides>
  <Notes>6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7</vt:i4>
      </vt:variant>
      <vt:variant>
        <vt:lpstr>Nadpisy snímků</vt:lpstr>
      </vt:variant>
      <vt:variant>
        <vt:i4>51</vt:i4>
      </vt:variant>
    </vt:vector>
  </HeadingPairs>
  <TitlesOfParts>
    <vt:vector size="63" baseType="lpstr">
      <vt:lpstr>Arial</vt:lpstr>
      <vt:lpstr>Calibri</vt:lpstr>
      <vt:lpstr>Calibri Light</vt:lpstr>
      <vt:lpstr>Segoe UI</vt:lpstr>
      <vt:lpstr>Wingdings</vt:lpstr>
      <vt:lpstr>Motiv Office</vt:lpstr>
      <vt:lpstr>1_Motiv systému Office</vt:lpstr>
      <vt:lpstr>1_Motiv Office</vt:lpstr>
      <vt:lpstr>2_Motiv Office</vt:lpstr>
      <vt:lpstr>Office Theme</vt:lpstr>
      <vt:lpstr>7_Motiv Office</vt:lpstr>
      <vt:lpstr>3_Motiv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Nové predikce ve čtyřech scénářích</vt:lpstr>
      <vt:lpstr>Krátkodobé predikce pro období 4 týdnů (od 8. 3.) </vt:lpstr>
      <vt:lpstr>Prezentace aplikace PowerPoint</vt:lpstr>
      <vt:lpstr>Počty nově diagnostikovaných pacientů: týdenní vývoj v ČR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 Počty hospitalizovaných pacientů dosáhly enormní výše a zejména v segmentu vysoce intenzivní péče vedly v nejvíce zatížených regionech až k vyčerpání dostupných kapacit.  </vt:lpstr>
      <vt:lpstr>Prezentace aplikace PowerPoint</vt:lpstr>
      <vt:lpstr>Prezentace aplikace PowerPoint</vt:lpstr>
      <vt:lpstr>Národní dispečink lůžkové péče – stav k 23.3. 2021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Scénáře dlouhodobých simulací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  <vt:lpstr>Prezentace aplikace PowerPoint</vt:lpstr>
      <vt:lpstr>Prezentace aplikace PowerPoint</vt:lpstr>
      <vt:lpstr>Prezentace aplikace PowerPoint</vt:lpstr>
      <vt:lpstr>Nejvíce zatížené okresy dle nových případů za 14 dní na 100 000 obyvatel</vt:lpstr>
      <vt:lpstr>Nejvíce zatížené okresy dle nových případů za 14 dní na 100 000 obyvatel</vt:lpstr>
      <vt:lpstr>14 denní počet nových případů (na 100 000 obyv.) v ORP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Krátkodobé predikce pro období 4 týdnů (od 15.2.)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ůvodní predikce ve scénářích z konce ledna a února 2021</vt:lpstr>
      <vt:lpstr>Krátkodobé predikce pro období 4 týdnů (od 15.2.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1918</cp:revision>
  <dcterms:created xsi:type="dcterms:W3CDTF">2020-03-16T10:06:11Z</dcterms:created>
  <dcterms:modified xsi:type="dcterms:W3CDTF">2021-04-05T08:30:58Z</dcterms:modified>
</cp:coreProperties>
</file>